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1.xml" ContentType="application/vnd.openxmlformats-officedocument.presentationml.notesSlide+xml"/>
  <Override PartName="/ppt/tags/tag3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9" r:id="rId2"/>
    <p:sldMasterId id="2147483685" r:id="rId3"/>
    <p:sldMasterId id="2147483696" r:id="rId4"/>
    <p:sldMasterId id="2147483705" r:id="rId5"/>
    <p:sldMasterId id="2147483717" r:id="rId6"/>
    <p:sldMasterId id="2147483730" r:id="rId7"/>
  </p:sldMasterIdLst>
  <p:notesMasterIdLst>
    <p:notesMasterId r:id="rId43"/>
  </p:notesMasterIdLst>
  <p:sldIdLst>
    <p:sldId id="1697" r:id="rId8"/>
    <p:sldId id="1698" r:id="rId9"/>
    <p:sldId id="1700" r:id="rId10"/>
    <p:sldId id="1699" r:id="rId11"/>
    <p:sldId id="1413" r:id="rId12"/>
    <p:sldId id="1690" r:id="rId13"/>
    <p:sldId id="1696" r:id="rId14"/>
    <p:sldId id="1587" r:id="rId15"/>
    <p:sldId id="1603" r:id="rId16"/>
    <p:sldId id="1695" r:id="rId17"/>
    <p:sldId id="1681" r:id="rId18"/>
    <p:sldId id="1622" r:id="rId19"/>
    <p:sldId id="1617" r:id="rId20"/>
    <p:sldId id="1572" r:id="rId21"/>
    <p:sldId id="1692" r:id="rId22"/>
    <p:sldId id="1689" r:id="rId23"/>
    <p:sldId id="1685" r:id="rId24"/>
    <p:sldId id="1686" r:id="rId25"/>
    <p:sldId id="1655" r:id="rId26"/>
    <p:sldId id="1628" r:id="rId27"/>
    <p:sldId id="1693" r:id="rId28"/>
    <p:sldId id="1651" r:id="rId29"/>
    <p:sldId id="1701" r:id="rId30"/>
    <p:sldId id="1593" r:id="rId31"/>
    <p:sldId id="1702" r:id="rId32"/>
    <p:sldId id="1703" r:id="rId33"/>
    <p:sldId id="1704" r:id="rId34"/>
    <p:sldId id="1705" r:id="rId35"/>
    <p:sldId id="1706" r:id="rId36"/>
    <p:sldId id="1707" r:id="rId37"/>
    <p:sldId id="1708" r:id="rId38"/>
    <p:sldId id="1709" r:id="rId39"/>
    <p:sldId id="1710" r:id="rId40"/>
    <p:sldId id="1711" r:id="rId41"/>
    <p:sldId id="1662" r:id="rId42"/>
  </p:sldIdLst>
  <p:sldSz cx="12192000" cy="6858000"/>
  <p:notesSz cx="6858000" cy="9144000"/>
  <p:embeddedFontLst>
    <p:embeddedFont>
      <p:font typeface="Calibri Light" panose="020F0302020204030204" pitchFamily="34" charset="0"/>
      <p:regular r:id="rId44"/>
      <p: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</p:embeddedFont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C2E5"/>
    <a:srgbClr val="7191D1"/>
    <a:srgbClr val="F2F2F2"/>
    <a:srgbClr val="00FF00"/>
    <a:srgbClr val="315397"/>
    <a:srgbClr val="FF9966"/>
    <a:srgbClr val="FF6600"/>
    <a:srgbClr val="FF9933"/>
    <a:srgbClr val="FFCC99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11" d="100"/>
          <a:sy n="111" d="100"/>
        </p:scale>
        <p:origin x="672" y="114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font" Target="fonts/font4.fntdata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font" Target="fonts/font3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font" Target="fonts/font2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font" Target="fonts/font6.fntdata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font" Target="fonts/font1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" Target="slides/slide1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List_aplikace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3:$A$165</c:f>
              <c:numCache>
                <c:formatCode>m/d/yyyy</c:formatCode>
                <c:ptCount val="103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</c:numCache>
            </c:numRef>
          </c:cat>
          <c:val>
            <c:numRef>
              <c:f>Sheet1!$B$63:$B$165</c:f>
              <c:numCache>
                <c:formatCode>General</c:formatCode>
                <c:ptCount val="103"/>
                <c:pt idx="0">
                  <c:v>3446</c:v>
                </c:pt>
                <c:pt idx="1">
                  <c:v>4985</c:v>
                </c:pt>
                <c:pt idx="2">
                  <c:v>6267</c:v>
                </c:pt>
                <c:pt idx="3">
                  <c:v>12955</c:v>
                </c:pt>
                <c:pt idx="4">
                  <c:v>17399</c:v>
                </c:pt>
                <c:pt idx="5">
                  <c:v>17770</c:v>
                </c:pt>
                <c:pt idx="6">
                  <c:v>14882</c:v>
                </c:pt>
                <c:pt idx="7">
                  <c:v>13099</c:v>
                </c:pt>
                <c:pt idx="8">
                  <c:v>8437</c:v>
                </c:pt>
                <c:pt idx="9">
                  <c:v>4312</c:v>
                </c:pt>
                <c:pt idx="10">
                  <c:v>9384</c:v>
                </c:pt>
                <c:pt idx="11">
                  <c:v>10810</c:v>
                </c:pt>
                <c:pt idx="12">
                  <c:v>10918</c:v>
                </c:pt>
                <c:pt idx="13">
                  <c:v>8087</c:v>
                </c:pt>
                <c:pt idx="14">
                  <c:v>9300</c:v>
                </c:pt>
                <c:pt idx="15">
                  <c:v>5241</c:v>
                </c:pt>
                <c:pt idx="16">
                  <c:v>2641</c:v>
                </c:pt>
                <c:pt idx="17">
                  <c:v>7668</c:v>
                </c:pt>
                <c:pt idx="18">
                  <c:v>9609</c:v>
                </c:pt>
                <c:pt idx="19">
                  <c:v>8215</c:v>
                </c:pt>
                <c:pt idx="20">
                  <c:v>7532</c:v>
                </c:pt>
                <c:pt idx="21">
                  <c:v>8467</c:v>
                </c:pt>
                <c:pt idx="22">
                  <c:v>4239</c:v>
                </c:pt>
                <c:pt idx="23">
                  <c:v>2394</c:v>
                </c:pt>
                <c:pt idx="24">
                  <c:v>6974</c:v>
                </c:pt>
                <c:pt idx="25">
                  <c:v>9194</c:v>
                </c:pt>
                <c:pt idx="26">
                  <c:v>8503</c:v>
                </c:pt>
                <c:pt idx="27">
                  <c:v>8010</c:v>
                </c:pt>
                <c:pt idx="28">
                  <c:v>8052</c:v>
                </c:pt>
                <c:pt idx="29">
                  <c:v>4055</c:v>
                </c:pt>
                <c:pt idx="30">
                  <c:v>2573</c:v>
                </c:pt>
                <c:pt idx="31">
                  <c:v>7217</c:v>
                </c:pt>
                <c:pt idx="32">
                  <c:v>9148</c:v>
                </c:pt>
                <c:pt idx="33">
                  <c:v>9666</c:v>
                </c:pt>
                <c:pt idx="34">
                  <c:v>8107</c:v>
                </c:pt>
                <c:pt idx="35">
                  <c:v>8622</c:v>
                </c:pt>
                <c:pt idx="36">
                  <c:v>4820</c:v>
                </c:pt>
                <c:pt idx="37">
                  <c:v>2451</c:v>
                </c:pt>
                <c:pt idx="38">
                  <c:v>7779</c:v>
                </c:pt>
                <c:pt idx="39">
                  <c:v>10283</c:v>
                </c:pt>
                <c:pt idx="40">
                  <c:v>9538</c:v>
                </c:pt>
                <c:pt idx="41">
                  <c:v>9017</c:v>
                </c:pt>
                <c:pt idx="42">
                  <c:v>8828</c:v>
                </c:pt>
                <c:pt idx="43">
                  <c:v>5141</c:v>
                </c:pt>
                <c:pt idx="44">
                  <c:v>2881</c:v>
                </c:pt>
                <c:pt idx="45">
                  <c:v>8905</c:v>
                </c:pt>
                <c:pt idx="46">
                  <c:v>12609</c:v>
                </c:pt>
                <c:pt idx="47">
                  <c:v>10938</c:v>
                </c:pt>
                <c:pt idx="48">
                  <c:v>11702</c:v>
                </c:pt>
                <c:pt idx="49">
                  <c:v>11287</c:v>
                </c:pt>
                <c:pt idx="50">
                  <c:v>6775</c:v>
                </c:pt>
                <c:pt idx="51">
                  <c:v>4068</c:v>
                </c:pt>
                <c:pt idx="52">
                  <c:v>11408</c:v>
                </c:pt>
                <c:pt idx="53">
                  <c:v>15841</c:v>
                </c:pt>
                <c:pt idx="54">
                  <c:v>13795</c:v>
                </c:pt>
                <c:pt idx="55">
                  <c:v>14588</c:v>
                </c:pt>
                <c:pt idx="56">
                  <c:v>14776</c:v>
                </c:pt>
                <c:pt idx="57">
                  <c:v>7823</c:v>
                </c:pt>
                <c:pt idx="58">
                  <c:v>4587</c:v>
                </c:pt>
                <c:pt idx="59">
                  <c:v>12322</c:v>
                </c:pt>
                <c:pt idx="60">
                  <c:v>16777</c:v>
                </c:pt>
                <c:pt idx="61">
                  <c:v>15239</c:v>
                </c:pt>
                <c:pt idx="62">
                  <c:v>14649</c:v>
                </c:pt>
                <c:pt idx="63">
                  <c:v>13169</c:v>
                </c:pt>
                <c:pt idx="64">
                  <c:v>9130</c:v>
                </c:pt>
                <c:pt idx="65">
                  <c:v>3982</c:v>
                </c:pt>
                <c:pt idx="66">
                  <c:v>10653</c:v>
                </c:pt>
                <c:pt idx="67">
                  <c:v>15357</c:v>
                </c:pt>
                <c:pt idx="68">
                  <c:v>14535</c:v>
                </c:pt>
                <c:pt idx="69">
                  <c:v>11242</c:v>
                </c:pt>
                <c:pt idx="70">
                  <c:v>14957</c:v>
                </c:pt>
                <c:pt idx="71">
                  <c:v>6956</c:v>
                </c:pt>
                <c:pt idx="72">
                  <c:v>3331</c:v>
                </c:pt>
                <c:pt idx="73">
                  <c:v>10628</c:v>
                </c:pt>
                <c:pt idx="74">
                  <c:v>14027</c:v>
                </c:pt>
                <c:pt idx="75">
                  <c:v>12025</c:v>
                </c:pt>
                <c:pt idx="76">
                  <c:v>10656</c:v>
                </c:pt>
                <c:pt idx="77">
                  <c:v>9708</c:v>
                </c:pt>
                <c:pt idx="78">
                  <c:v>5466</c:v>
                </c:pt>
                <c:pt idx="79">
                  <c:v>2388</c:v>
                </c:pt>
                <c:pt idx="80">
                  <c:v>8240</c:v>
                </c:pt>
                <c:pt idx="81">
                  <c:v>10969</c:v>
                </c:pt>
                <c:pt idx="82">
                  <c:v>8845</c:v>
                </c:pt>
                <c:pt idx="83">
                  <c:v>7923</c:v>
                </c:pt>
                <c:pt idx="84">
                  <c:v>7709</c:v>
                </c:pt>
                <c:pt idx="85">
                  <c:v>3969</c:v>
                </c:pt>
                <c:pt idx="86">
                  <c:v>1743</c:v>
                </c:pt>
                <c:pt idx="87">
                  <c:v>6933</c:v>
                </c:pt>
                <c:pt idx="88">
                  <c:v>8629</c:v>
                </c:pt>
                <c:pt idx="89">
                  <c:v>7255</c:v>
                </c:pt>
                <c:pt idx="90">
                  <c:v>6243</c:v>
                </c:pt>
                <c:pt idx="91">
                  <c:v>3829</c:v>
                </c:pt>
                <c:pt idx="92">
                  <c:v>2158</c:v>
                </c:pt>
                <c:pt idx="93">
                  <c:v>1922</c:v>
                </c:pt>
                <c:pt idx="94">
                  <c:v>1414</c:v>
                </c:pt>
                <c:pt idx="95">
                  <c:v>5566</c:v>
                </c:pt>
                <c:pt idx="96">
                  <c:v>7015</c:v>
                </c:pt>
                <c:pt idx="97">
                  <c:v>5270</c:v>
                </c:pt>
                <c:pt idx="98">
                  <c:v>4805</c:v>
                </c:pt>
                <c:pt idx="99">
                  <c:v>2198</c:v>
                </c:pt>
                <c:pt idx="100">
                  <c:v>976</c:v>
                </c:pt>
                <c:pt idx="101">
                  <c:v>3843</c:v>
                </c:pt>
                <c:pt idx="102">
                  <c:v>5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:$A$67</c:f>
              <c:numCache>
                <c:formatCode>m/d/yyyy</c:formatCode>
                <c:ptCount val="67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</c:numCache>
            </c:numRef>
          </c:cat>
          <c:val>
            <c:numRef>
              <c:f>Sheet1!$B$1:$B$67</c:f>
              <c:numCache>
                <c:formatCode>###0</c:formatCode>
                <c:ptCount val="67"/>
                <c:pt idx="0">
                  <c:v>27495</c:v>
                </c:pt>
                <c:pt idx="1">
                  <c:v>29984</c:v>
                </c:pt>
                <c:pt idx="2">
                  <c:v>31796</c:v>
                </c:pt>
                <c:pt idx="3">
                  <c:v>27744</c:v>
                </c:pt>
                <c:pt idx="4">
                  <c:v>31194</c:v>
                </c:pt>
                <c:pt idx="5">
                  <c:v>14899</c:v>
                </c:pt>
                <c:pt idx="6">
                  <c:v>7819</c:v>
                </c:pt>
                <c:pt idx="7">
                  <c:v>25605</c:v>
                </c:pt>
                <c:pt idx="8">
                  <c:v>31375</c:v>
                </c:pt>
                <c:pt idx="9">
                  <c:v>29928</c:v>
                </c:pt>
                <c:pt idx="10">
                  <c:v>28230</c:v>
                </c:pt>
                <c:pt idx="11">
                  <c:v>31058</c:v>
                </c:pt>
                <c:pt idx="12">
                  <c:v>16458</c:v>
                </c:pt>
                <c:pt idx="13">
                  <c:v>8388</c:v>
                </c:pt>
                <c:pt idx="14">
                  <c:v>29117</c:v>
                </c:pt>
                <c:pt idx="15">
                  <c:v>34541</c:v>
                </c:pt>
                <c:pt idx="16">
                  <c:v>32781</c:v>
                </c:pt>
                <c:pt idx="17">
                  <c:v>34073</c:v>
                </c:pt>
                <c:pt idx="18">
                  <c:v>37505</c:v>
                </c:pt>
                <c:pt idx="19">
                  <c:v>18806</c:v>
                </c:pt>
                <c:pt idx="20">
                  <c:v>9572</c:v>
                </c:pt>
                <c:pt idx="21">
                  <c:v>33899</c:v>
                </c:pt>
                <c:pt idx="22">
                  <c:v>40914</c:v>
                </c:pt>
                <c:pt idx="23">
                  <c:v>40169</c:v>
                </c:pt>
                <c:pt idx="24">
                  <c:v>39765</c:v>
                </c:pt>
                <c:pt idx="25">
                  <c:v>41855</c:v>
                </c:pt>
                <c:pt idx="26">
                  <c:v>23064</c:v>
                </c:pt>
                <c:pt idx="27">
                  <c:v>11706</c:v>
                </c:pt>
                <c:pt idx="28">
                  <c:v>35103</c:v>
                </c:pt>
                <c:pt idx="29">
                  <c:v>44561</c:v>
                </c:pt>
                <c:pt idx="30">
                  <c:v>41145</c:v>
                </c:pt>
                <c:pt idx="31">
                  <c:v>39854</c:v>
                </c:pt>
                <c:pt idx="32">
                  <c:v>42795</c:v>
                </c:pt>
                <c:pt idx="33">
                  <c:v>22005</c:v>
                </c:pt>
                <c:pt idx="34">
                  <c:v>11096</c:v>
                </c:pt>
                <c:pt idx="35">
                  <c:v>32802</c:v>
                </c:pt>
                <c:pt idx="36">
                  <c:v>39767</c:v>
                </c:pt>
                <c:pt idx="37">
                  <c:v>40974</c:v>
                </c:pt>
                <c:pt idx="38">
                  <c:v>35277</c:v>
                </c:pt>
                <c:pt idx="39">
                  <c:v>39756</c:v>
                </c:pt>
                <c:pt idx="40">
                  <c:v>17575</c:v>
                </c:pt>
                <c:pt idx="41">
                  <c:v>8271</c:v>
                </c:pt>
                <c:pt idx="42">
                  <c:v>33473</c:v>
                </c:pt>
                <c:pt idx="43">
                  <c:v>37363</c:v>
                </c:pt>
                <c:pt idx="44">
                  <c:v>34331</c:v>
                </c:pt>
                <c:pt idx="45">
                  <c:v>30842</c:v>
                </c:pt>
                <c:pt idx="46">
                  <c:v>32085</c:v>
                </c:pt>
                <c:pt idx="47">
                  <c:v>17104</c:v>
                </c:pt>
                <c:pt idx="48">
                  <c:v>7951</c:v>
                </c:pt>
                <c:pt idx="49">
                  <c:v>29594</c:v>
                </c:pt>
                <c:pt idx="50">
                  <c:v>33537</c:v>
                </c:pt>
                <c:pt idx="51">
                  <c:v>28208</c:v>
                </c:pt>
                <c:pt idx="52">
                  <c:v>27649</c:v>
                </c:pt>
                <c:pt idx="53">
                  <c:v>27101</c:v>
                </c:pt>
                <c:pt idx="54">
                  <c:v>12613</c:v>
                </c:pt>
                <c:pt idx="55">
                  <c:v>6308</c:v>
                </c:pt>
                <c:pt idx="56">
                  <c:v>26996</c:v>
                </c:pt>
                <c:pt idx="57">
                  <c:v>28964</c:v>
                </c:pt>
                <c:pt idx="58">
                  <c:v>26000</c:v>
                </c:pt>
                <c:pt idx="59">
                  <c:v>24831</c:v>
                </c:pt>
                <c:pt idx="60">
                  <c:v>14627</c:v>
                </c:pt>
                <c:pt idx="61">
                  <c:v>8347</c:v>
                </c:pt>
                <c:pt idx="62">
                  <c:v>7087</c:v>
                </c:pt>
                <c:pt idx="63">
                  <c:v>7572</c:v>
                </c:pt>
                <c:pt idx="64">
                  <c:v>25661</c:v>
                </c:pt>
                <c:pt idx="65">
                  <c:v>27782</c:v>
                </c:pt>
                <c:pt idx="66">
                  <c:v>22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A9-49A4-8C71-454A99099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13385876312507E-2"/>
          <c:y val="2.1062642868505919E-2"/>
          <c:w val="0.86437848759276137"/>
          <c:h val="0.853831594409529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ruhá dáv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Sheet1!$C$2:$DE$2</c:f>
              <c:numCache>
                <c:formatCode>General</c:formatCode>
                <c:ptCount val="10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</c:v>
                </c:pt>
                <c:pt idx="20">
                  <c:v>633</c:v>
                </c:pt>
                <c:pt idx="21">
                  <c:v>2358</c:v>
                </c:pt>
                <c:pt idx="22">
                  <c:v>5055</c:v>
                </c:pt>
                <c:pt idx="23">
                  <c:v>7670</c:v>
                </c:pt>
                <c:pt idx="24">
                  <c:v>9387</c:v>
                </c:pt>
                <c:pt idx="25">
                  <c:v>10420</c:v>
                </c:pt>
                <c:pt idx="26">
                  <c:v>11285</c:v>
                </c:pt>
                <c:pt idx="27">
                  <c:v>12146</c:v>
                </c:pt>
                <c:pt idx="28">
                  <c:v>15082</c:v>
                </c:pt>
                <c:pt idx="29">
                  <c:v>19031</c:v>
                </c:pt>
                <c:pt idx="30">
                  <c:v>23512</c:v>
                </c:pt>
                <c:pt idx="31">
                  <c:v>29589</c:v>
                </c:pt>
                <c:pt idx="32">
                  <c:v>37371</c:v>
                </c:pt>
                <c:pt idx="33">
                  <c:v>38450</c:v>
                </c:pt>
                <c:pt idx="34">
                  <c:v>39587</c:v>
                </c:pt>
                <c:pt idx="35">
                  <c:v>47445</c:v>
                </c:pt>
                <c:pt idx="36">
                  <c:v>57596</c:v>
                </c:pt>
                <c:pt idx="37">
                  <c:v>68533</c:v>
                </c:pt>
                <c:pt idx="38">
                  <c:v>81429</c:v>
                </c:pt>
                <c:pt idx="39">
                  <c:v>92019</c:v>
                </c:pt>
                <c:pt idx="40">
                  <c:v>94347</c:v>
                </c:pt>
                <c:pt idx="41">
                  <c:v>96815</c:v>
                </c:pt>
                <c:pt idx="42">
                  <c:v>108131</c:v>
                </c:pt>
                <c:pt idx="43">
                  <c:v>119964</c:v>
                </c:pt>
                <c:pt idx="44">
                  <c:v>133038</c:v>
                </c:pt>
                <c:pt idx="45">
                  <c:v>149081</c:v>
                </c:pt>
                <c:pt idx="46">
                  <c:v>163671</c:v>
                </c:pt>
                <c:pt idx="47">
                  <c:v>166623</c:v>
                </c:pt>
                <c:pt idx="48">
                  <c:v>167988</c:v>
                </c:pt>
                <c:pt idx="49" formatCode="#,##0">
                  <c:v>177274</c:v>
                </c:pt>
                <c:pt idx="50" formatCode="#,##0">
                  <c:v>186190</c:v>
                </c:pt>
                <c:pt idx="51" formatCode="#,##0">
                  <c:v>194340</c:v>
                </c:pt>
                <c:pt idx="52" formatCode="#,##0">
                  <c:v>202300</c:v>
                </c:pt>
                <c:pt idx="53" formatCode="#,##0">
                  <c:v>209508</c:v>
                </c:pt>
                <c:pt idx="54" formatCode="#,##0">
                  <c:v>210670</c:v>
                </c:pt>
                <c:pt idx="55" formatCode="#,##0">
                  <c:v>211672</c:v>
                </c:pt>
                <c:pt idx="56" formatCode="#,##0">
                  <c:v>217643</c:v>
                </c:pt>
                <c:pt idx="57" formatCode="#,##0">
                  <c:v>224527</c:v>
                </c:pt>
                <c:pt idx="58" formatCode="#,##0">
                  <c:v>230502</c:v>
                </c:pt>
                <c:pt idx="59" formatCode="#,##0">
                  <c:v>235999</c:v>
                </c:pt>
                <c:pt idx="60" formatCode="#,##0">
                  <c:v>241247</c:v>
                </c:pt>
                <c:pt idx="61" formatCode="#,##0">
                  <c:v>241795</c:v>
                </c:pt>
                <c:pt idx="62" formatCode="#,##0">
                  <c:v>242334</c:v>
                </c:pt>
                <c:pt idx="63" formatCode="#,##0">
                  <c:v>245755</c:v>
                </c:pt>
                <c:pt idx="64" formatCode="#,##0">
                  <c:v>249258</c:v>
                </c:pt>
                <c:pt idx="65" formatCode="#,##0">
                  <c:v>253714</c:v>
                </c:pt>
                <c:pt idx="66" formatCode="#,##0">
                  <c:v>258308</c:v>
                </c:pt>
                <c:pt idx="67" formatCode="#,##0">
                  <c:v>263625</c:v>
                </c:pt>
                <c:pt idx="68" formatCode="#,##0">
                  <c:v>264442</c:v>
                </c:pt>
                <c:pt idx="69" formatCode="#,##0">
                  <c:v>265265</c:v>
                </c:pt>
                <c:pt idx="70" formatCode="#,##0">
                  <c:v>270047</c:v>
                </c:pt>
                <c:pt idx="71" formatCode="#,##0">
                  <c:v>276352</c:v>
                </c:pt>
                <c:pt idx="72" formatCode="#,##0">
                  <c:v>283225</c:v>
                </c:pt>
                <c:pt idx="73" formatCode="#,##0">
                  <c:v>291499</c:v>
                </c:pt>
                <c:pt idx="74" formatCode="#,##0">
                  <c:v>299825</c:v>
                </c:pt>
                <c:pt idx="75" formatCode="#,##0">
                  <c:v>301091</c:v>
                </c:pt>
                <c:pt idx="76" formatCode="#,##0">
                  <c:v>302211</c:v>
                </c:pt>
                <c:pt idx="77" formatCode="#,##0">
                  <c:v>310896</c:v>
                </c:pt>
                <c:pt idx="78" formatCode="#,##0">
                  <c:v>321293</c:v>
                </c:pt>
                <c:pt idx="79" formatCode="#,##0">
                  <c:v>331710</c:v>
                </c:pt>
                <c:pt idx="80" formatCode="#,##0">
                  <c:v>344017</c:v>
                </c:pt>
                <c:pt idx="81" formatCode="#,##0">
                  <c:v>357495</c:v>
                </c:pt>
                <c:pt idx="82" formatCode="#,##0">
                  <c:v>359490</c:v>
                </c:pt>
                <c:pt idx="83" formatCode="#,##0">
                  <c:v>361009</c:v>
                </c:pt>
                <c:pt idx="84" formatCode="#,##0">
                  <c:v>373337</c:v>
                </c:pt>
                <c:pt idx="85" formatCode="#,##0">
                  <c:v>386539</c:v>
                </c:pt>
                <c:pt idx="86" formatCode="#,##0">
                  <c:v>402067</c:v>
                </c:pt>
                <c:pt idx="87" formatCode="#,##0">
                  <c:v>419777</c:v>
                </c:pt>
                <c:pt idx="88" formatCode="#,##0">
                  <c:v>437099</c:v>
                </c:pt>
                <c:pt idx="89" formatCode="#,##0">
                  <c:v>441840</c:v>
                </c:pt>
                <c:pt idx="90" formatCode="#,##0">
                  <c:v>445914</c:v>
                </c:pt>
                <c:pt idx="91" formatCode="#,##0">
                  <c:v>466363</c:v>
                </c:pt>
                <c:pt idx="92" formatCode="#,##0">
                  <c:v>488309</c:v>
                </c:pt>
                <c:pt idx="93" formatCode="#,##0">
                  <c:v>514874</c:v>
                </c:pt>
                <c:pt idx="94" formatCode="#,##0">
                  <c:v>546524</c:v>
                </c:pt>
                <c:pt idx="95" formatCode="#,##0">
                  <c:v>559153</c:v>
                </c:pt>
                <c:pt idx="96" formatCode="#,##0">
                  <c:v>569988</c:v>
                </c:pt>
                <c:pt idx="97" formatCode="#,##0">
                  <c:v>578680</c:v>
                </c:pt>
                <c:pt idx="98" formatCode="#,##0">
                  <c:v>585793</c:v>
                </c:pt>
                <c:pt idx="99" formatCode="#,##0">
                  <c:v>614711</c:v>
                </c:pt>
                <c:pt idx="100" formatCode="#,##0">
                  <c:v>636416</c:v>
                </c:pt>
                <c:pt idx="101" formatCode="#,##0">
                  <c:v>666731</c:v>
                </c:pt>
                <c:pt idx="102" formatCode="#,##0">
                  <c:v>695947</c:v>
                </c:pt>
                <c:pt idx="103" formatCode="#,##0">
                  <c:v>711013</c:v>
                </c:pt>
                <c:pt idx="104" formatCode="#,##0">
                  <c:v>720932</c:v>
                </c:pt>
                <c:pt idx="105" formatCode="#,##0">
                  <c:v>744564</c:v>
                </c:pt>
                <c:pt idx="106" formatCode="#,##0">
                  <c:v>768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3-43C0-B046-DC96016FC49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Sheet1!$C$3:$DE$3</c:f>
              <c:numCache>
                <c:formatCode>General</c:formatCode>
                <c:ptCount val="107"/>
                <c:pt idx="0">
                  <c:v>3542</c:v>
                </c:pt>
                <c:pt idx="1">
                  <c:v>6985</c:v>
                </c:pt>
                <c:pt idx="2">
                  <c:v>10452</c:v>
                </c:pt>
                <c:pt idx="3">
                  <c:v>11757</c:v>
                </c:pt>
                <c:pt idx="4">
                  <c:v>12017</c:v>
                </c:pt>
                <c:pt idx="5">
                  <c:v>13266</c:v>
                </c:pt>
                <c:pt idx="6">
                  <c:v>14179</c:v>
                </c:pt>
                <c:pt idx="7">
                  <c:v>17743</c:v>
                </c:pt>
                <c:pt idx="8">
                  <c:v>22235</c:v>
                </c:pt>
                <c:pt idx="9">
                  <c:v>28048</c:v>
                </c:pt>
                <c:pt idx="10">
                  <c:v>35999</c:v>
                </c:pt>
                <c:pt idx="11">
                  <c:v>45924</c:v>
                </c:pt>
                <c:pt idx="12">
                  <c:v>47932</c:v>
                </c:pt>
                <c:pt idx="13">
                  <c:v>49652</c:v>
                </c:pt>
                <c:pt idx="14">
                  <c:v>59430</c:v>
                </c:pt>
                <c:pt idx="15">
                  <c:v>72778</c:v>
                </c:pt>
                <c:pt idx="16">
                  <c:v>86244</c:v>
                </c:pt>
                <c:pt idx="17">
                  <c:v>101404</c:v>
                </c:pt>
                <c:pt idx="18">
                  <c:v>115318</c:v>
                </c:pt>
                <c:pt idx="19">
                  <c:v>118689</c:v>
                </c:pt>
                <c:pt idx="20">
                  <c:v>121282</c:v>
                </c:pt>
                <c:pt idx="21">
                  <c:v>133733</c:v>
                </c:pt>
                <c:pt idx="22">
                  <c:v>146167</c:v>
                </c:pt>
                <c:pt idx="23">
                  <c:v>159703</c:v>
                </c:pt>
                <c:pt idx="24">
                  <c:v>175218</c:v>
                </c:pt>
                <c:pt idx="25">
                  <c:v>189943</c:v>
                </c:pt>
                <c:pt idx="26">
                  <c:v>193207</c:v>
                </c:pt>
                <c:pt idx="27">
                  <c:v>195446</c:v>
                </c:pt>
                <c:pt idx="28">
                  <c:v>205045</c:v>
                </c:pt>
                <c:pt idx="29">
                  <c:v>215528</c:v>
                </c:pt>
                <c:pt idx="30">
                  <c:v>224499</c:v>
                </c:pt>
                <c:pt idx="31">
                  <c:v>231526</c:v>
                </c:pt>
                <c:pt idx="32">
                  <c:v>237700</c:v>
                </c:pt>
                <c:pt idx="33">
                  <c:v>238417</c:v>
                </c:pt>
                <c:pt idx="34">
                  <c:v>239118</c:v>
                </c:pt>
                <c:pt idx="35">
                  <c:v>243052</c:v>
                </c:pt>
                <c:pt idx="36">
                  <c:v>247166</c:v>
                </c:pt>
                <c:pt idx="37">
                  <c:v>251547</c:v>
                </c:pt>
                <c:pt idx="38">
                  <c:v>256411</c:v>
                </c:pt>
                <c:pt idx="39">
                  <c:v>261834</c:v>
                </c:pt>
                <c:pt idx="40">
                  <c:v>262668</c:v>
                </c:pt>
                <c:pt idx="41">
                  <c:v>263511</c:v>
                </c:pt>
                <c:pt idx="42">
                  <c:v>267516</c:v>
                </c:pt>
                <c:pt idx="43">
                  <c:v>272545</c:v>
                </c:pt>
                <c:pt idx="44">
                  <c:v>278056</c:v>
                </c:pt>
                <c:pt idx="45">
                  <c:v>284315</c:v>
                </c:pt>
                <c:pt idx="46">
                  <c:v>291003</c:v>
                </c:pt>
                <c:pt idx="47">
                  <c:v>292571</c:v>
                </c:pt>
                <c:pt idx="48">
                  <c:v>293559</c:v>
                </c:pt>
                <c:pt idx="49" formatCode="#,##0">
                  <c:v>299930</c:v>
                </c:pt>
                <c:pt idx="50" formatCode="#,##0">
                  <c:v>308546</c:v>
                </c:pt>
                <c:pt idx="51" formatCode="#,##0">
                  <c:v>318176</c:v>
                </c:pt>
                <c:pt idx="52" formatCode="#,##0">
                  <c:v>330405</c:v>
                </c:pt>
                <c:pt idx="53" formatCode="#,##0">
                  <c:v>342115</c:v>
                </c:pt>
                <c:pt idx="54" formatCode="#,##0">
                  <c:v>344027</c:v>
                </c:pt>
                <c:pt idx="55" formatCode="#,##0">
                  <c:v>345045</c:v>
                </c:pt>
                <c:pt idx="56" formatCode="#,##0">
                  <c:v>355090</c:v>
                </c:pt>
                <c:pt idx="57" formatCode="#,##0">
                  <c:v>367873</c:v>
                </c:pt>
                <c:pt idx="58" formatCode="#,##0">
                  <c:v>381621</c:v>
                </c:pt>
                <c:pt idx="59" formatCode="#,##0">
                  <c:v>399451</c:v>
                </c:pt>
                <c:pt idx="60" formatCode="#,##0">
                  <c:v>415445</c:v>
                </c:pt>
                <c:pt idx="61" formatCode="#,##0">
                  <c:v>418371</c:v>
                </c:pt>
                <c:pt idx="62" formatCode="#,##0">
                  <c:v>420695</c:v>
                </c:pt>
                <c:pt idx="63" formatCode="#,##0">
                  <c:v>439956</c:v>
                </c:pt>
                <c:pt idx="64" formatCode="#,##0">
                  <c:v>466654</c:v>
                </c:pt>
                <c:pt idx="65" formatCode="#,##0">
                  <c:v>496950</c:v>
                </c:pt>
                <c:pt idx="66" formatCode="#,##0">
                  <c:v>529553</c:v>
                </c:pt>
                <c:pt idx="67" formatCode="#,##0">
                  <c:v>557959</c:v>
                </c:pt>
                <c:pt idx="68" formatCode="#,##0">
                  <c:v>569904</c:v>
                </c:pt>
                <c:pt idx="69" formatCode="#,##0">
                  <c:v>581216</c:v>
                </c:pt>
                <c:pt idx="70" formatCode="#,##0">
                  <c:v>610607</c:v>
                </c:pt>
                <c:pt idx="71" formatCode="#,##0">
                  <c:v>646390</c:v>
                </c:pt>
                <c:pt idx="72" formatCode="#,##0">
                  <c:v>687150</c:v>
                </c:pt>
                <c:pt idx="73" formatCode="#,##0">
                  <c:v>731441</c:v>
                </c:pt>
                <c:pt idx="74" formatCode="#,##0">
                  <c:v>769702</c:v>
                </c:pt>
                <c:pt idx="75" formatCode="#,##0">
                  <c:v>786606</c:v>
                </c:pt>
                <c:pt idx="76" formatCode="#,##0">
                  <c:v>798603</c:v>
                </c:pt>
                <c:pt idx="77" formatCode="#,##0">
                  <c:v>826437</c:v>
                </c:pt>
                <c:pt idx="78" formatCode="#,##0">
                  <c:v>864780</c:v>
                </c:pt>
                <c:pt idx="79" formatCode="#,##0">
                  <c:v>901774</c:v>
                </c:pt>
                <c:pt idx="80" formatCode="#,##0">
                  <c:v>938973</c:v>
                </c:pt>
                <c:pt idx="81" formatCode="#,##0">
                  <c:v>972750</c:v>
                </c:pt>
                <c:pt idx="82" formatCode="#,##0">
                  <c:v>987592</c:v>
                </c:pt>
                <c:pt idx="83" formatCode="#,##0">
                  <c:v>994908</c:v>
                </c:pt>
                <c:pt idx="84" formatCode="#,##0">
                  <c:v>1018734</c:v>
                </c:pt>
                <c:pt idx="85" formatCode="#,##0">
                  <c:v>1044692</c:v>
                </c:pt>
                <c:pt idx="86" formatCode="#,##0">
                  <c:v>1071022</c:v>
                </c:pt>
                <c:pt idx="87" formatCode="#,##0">
                  <c:v>1096883</c:v>
                </c:pt>
                <c:pt idx="88" formatCode="#,##0">
                  <c:v>1121109</c:v>
                </c:pt>
                <c:pt idx="89" formatCode="#,##0">
                  <c:v>1129320</c:v>
                </c:pt>
                <c:pt idx="90" formatCode="#,##0">
                  <c:v>1134758</c:v>
                </c:pt>
                <c:pt idx="91" formatCode="#,##0">
                  <c:v>1153528</c:v>
                </c:pt>
                <c:pt idx="92" formatCode="#,##0">
                  <c:v>1177845</c:v>
                </c:pt>
                <c:pt idx="93" formatCode="#,##0">
                  <c:v>1200393</c:v>
                </c:pt>
                <c:pt idx="94" formatCode="#,##0">
                  <c:v>1225179</c:v>
                </c:pt>
                <c:pt idx="95" formatCode="#,##0">
                  <c:v>1231817</c:v>
                </c:pt>
                <c:pt idx="96" formatCode="#,##0">
                  <c:v>1235251</c:v>
                </c:pt>
                <c:pt idx="97" formatCode="#,##0">
                  <c:v>1237695</c:v>
                </c:pt>
                <c:pt idx="98" formatCode="#,##0">
                  <c:v>1239967</c:v>
                </c:pt>
                <c:pt idx="99" formatCode="#,##0">
                  <c:v>1255684</c:v>
                </c:pt>
                <c:pt idx="100" formatCode="#,##0">
                  <c:v>1278487</c:v>
                </c:pt>
                <c:pt idx="101" formatCode="#,##0">
                  <c:v>1315018</c:v>
                </c:pt>
                <c:pt idx="102" formatCode="#,##0">
                  <c:v>1351985</c:v>
                </c:pt>
                <c:pt idx="103" formatCode="#,##0">
                  <c:v>1366784</c:v>
                </c:pt>
                <c:pt idx="104" formatCode="#,##0">
                  <c:v>1376222</c:v>
                </c:pt>
                <c:pt idx="105" formatCode="#,##0">
                  <c:v>1411768</c:v>
                </c:pt>
                <c:pt idx="106" formatCode="#,##0">
                  <c:v>1441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83764288"/>
        <c:axId val="50879584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celkem dávek v ČR</c:v>
                </c:pt>
              </c:strCache>
            </c:strRef>
          </c:tx>
          <c:spPr>
            <a:ln w="698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Sheet1!$C$4:$DE$4</c:f>
              <c:numCache>
                <c:formatCode>0</c:formatCode>
                <c:ptCount val="107"/>
                <c:pt idx="0">
                  <c:v>29250</c:v>
                </c:pt>
                <c:pt idx="1">
                  <c:v>29250</c:v>
                </c:pt>
                <c:pt idx="2">
                  <c:v>29250</c:v>
                </c:pt>
                <c:pt idx="3">
                  <c:v>29250</c:v>
                </c:pt>
                <c:pt idx="4">
                  <c:v>29250</c:v>
                </c:pt>
                <c:pt idx="5">
                  <c:v>29250</c:v>
                </c:pt>
                <c:pt idx="6">
                  <c:v>29250</c:v>
                </c:pt>
                <c:pt idx="7">
                  <c:v>98475</c:v>
                </c:pt>
                <c:pt idx="8">
                  <c:v>98475</c:v>
                </c:pt>
                <c:pt idx="9">
                  <c:v>98475</c:v>
                </c:pt>
                <c:pt idx="10">
                  <c:v>98475</c:v>
                </c:pt>
                <c:pt idx="11">
                  <c:v>98475</c:v>
                </c:pt>
                <c:pt idx="12">
                  <c:v>98475</c:v>
                </c:pt>
                <c:pt idx="13">
                  <c:v>98475</c:v>
                </c:pt>
                <c:pt idx="14">
                  <c:v>169650</c:v>
                </c:pt>
                <c:pt idx="15">
                  <c:v>178050</c:v>
                </c:pt>
                <c:pt idx="16">
                  <c:v>178050</c:v>
                </c:pt>
                <c:pt idx="17">
                  <c:v>178050</c:v>
                </c:pt>
                <c:pt idx="18">
                  <c:v>178050</c:v>
                </c:pt>
                <c:pt idx="19">
                  <c:v>178050</c:v>
                </c:pt>
                <c:pt idx="20">
                  <c:v>178050</c:v>
                </c:pt>
                <c:pt idx="21">
                  <c:v>272820</c:v>
                </c:pt>
                <c:pt idx="22">
                  <c:v>272820</c:v>
                </c:pt>
                <c:pt idx="23">
                  <c:v>272820</c:v>
                </c:pt>
                <c:pt idx="24">
                  <c:v>272820</c:v>
                </c:pt>
                <c:pt idx="25">
                  <c:v>272820</c:v>
                </c:pt>
                <c:pt idx="26">
                  <c:v>272820</c:v>
                </c:pt>
                <c:pt idx="27">
                  <c:v>272820</c:v>
                </c:pt>
                <c:pt idx="28">
                  <c:v>346530</c:v>
                </c:pt>
                <c:pt idx="29">
                  <c:v>346530</c:v>
                </c:pt>
                <c:pt idx="30">
                  <c:v>346530</c:v>
                </c:pt>
                <c:pt idx="31">
                  <c:v>346530</c:v>
                </c:pt>
                <c:pt idx="32">
                  <c:v>346530</c:v>
                </c:pt>
                <c:pt idx="33">
                  <c:v>346530</c:v>
                </c:pt>
                <c:pt idx="34">
                  <c:v>346530</c:v>
                </c:pt>
                <c:pt idx="35">
                  <c:v>426480</c:v>
                </c:pt>
                <c:pt idx="36">
                  <c:v>430680</c:v>
                </c:pt>
                <c:pt idx="37">
                  <c:v>433980</c:v>
                </c:pt>
                <c:pt idx="38">
                  <c:v>434580</c:v>
                </c:pt>
                <c:pt idx="39">
                  <c:v>435680</c:v>
                </c:pt>
                <c:pt idx="40">
                  <c:v>435680</c:v>
                </c:pt>
                <c:pt idx="41">
                  <c:v>435680</c:v>
                </c:pt>
                <c:pt idx="42">
                  <c:v>539800</c:v>
                </c:pt>
                <c:pt idx="43">
                  <c:v>543800</c:v>
                </c:pt>
                <c:pt idx="44">
                  <c:v>552500</c:v>
                </c:pt>
                <c:pt idx="45">
                  <c:v>555000</c:v>
                </c:pt>
                <c:pt idx="46">
                  <c:v>576600</c:v>
                </c:pt>
                <c:pt idx="47">
                  <c:v>576600</c:v>
                </c:pt>
                <c:pt idx="48">
                  <c:v>576600</c:v>
                </c:pt>
                <c:pt idx="49">
                  <c:v>576600</c:v>
                </c:pt>
                <c:pt idx="50">
                  <c:v>643290</c:v>
                </c:pt>
                <c:pt idx="51">
                  <c:v>667860</c:v>
                </c:pt>
                <c:pt idx="52">
                  <c:v>667860</c:v>
                </c:pt>
                <c:pt idx="53">
                  <c:v>703860</c:v>
                </c:pt>
                <c:pt idx="54">
                  <c:v>703860</c:v>
                </c:pt>
                <c:pt idx="55">
                  <c:v>703860</c:v>
                </c:pt>
                <c:pt idx="56" formatCode="#,##0">
                  <c:v>703860</c:v>
                </c:pt>
                <c:pt idx="57" formatCode="#,##0">
                  <c:v>797460</c:v>
                </c:pt>
                <c:pt idx="58" formatCode="#,##0">
                  <c:v>797460</c:v>
                </c:pt>
                <c:pt idx="59" formatCode="#,##0">
                  <c:v>797460</c:v>
                </c:pt>
                <c:pt idx="60" formatCode="#,##0">
                  <c:v>850360</c:v>
                </c:pt>
                <c:pt idx="61" formatCode="#,##0">
                  <c:v>867260</c:v>
                </c:pt>
                <c:pt idx="62">
                  <c:v>867260</c:v>
                </c:pt>
                <c:pt idx="63">
                  <c:v>872860</c:v>
                </c:pt>
                <c:pt idx="64">
                  <c:v>1001550</c:v>
                </c:pt>
                <c:pt idx="65">
                  <c:v>1008150</c:v>
                </c:pt>
                <c:pt idx="66">
                  <c:v>1008150</c:v>
                </c:pt>
                <c:pt idx="67">
                  <c:v>1027250</c:v>
                </c:pt>
                <c:pt idx="68">
                  <c:v>1027250</c:v>
                </c:pt>
                <c:pt idx="69">
                  <c:v>1027250</c:v>
                </c:pt>
                <c:pt idx="70">
                  <c:v>1043550</c:v>
                </c:pt>
                <c:pt idx="71">
                  <c:v>1267550</c:v>
                </c:pt>
                <c:pt idx="72">
                  <c:v>1274550</c:v>
                </c:pt>
                <c:pt idx="73">
                  <c:v>1279750</c:v>
                </c:pt>
                <c:pt idx="74">
                  <c:v>1314150</c:v>
                </c:pt>
                <c:pt idx="75">
                  <c:v>1332050</c:v>
                </c:pt>
                <c:pt idx="76">
                  <c:v>1340250</c:v>
                </c:pt>
                <c:pt idx="77">
                  <c:v>1354850</c:v>
                </c:pt>
                <c:pt idx="78">
                  <c:v>1485270</c:v>
                </c:pt>
                <c:pt idx="79" formatCode="#,##0">
                  <c:v>1493470</c:v>
                </c:pt>
                <c:pt idx="80" formatCode="#,##0">
                  <c:v>1499070</c:v>
                </c:pt>
                <c:pt idx="81" formatCode="#,##0">
                  <c:v>1504970</c:v>
                </c:pt>
                <c:pt idx="82" formatCode="#,##0">
                  <c:v>1504970</c:v>
                </c:pt>
                <c:pt idx="83" formatCode="#,##0">
                  <c:v>1504970</c:v>
                </c:pt>
                <c:pt idx="84" formatCode="#,##0">
                  <c:v>1507170</c:v>
                </c:pt>
                <c:pt idx="85" formatCode="#,##0">
                  <c:v>1671070</c:v>
                </c:pt>
                <c:pt idx="86" formatCode="#,##0">
                  <c:v>1671070</c:v>
                </c:pt>
                <c:pt idx="87" formatCode="#,##0">
                  <c:v>1671070</c:v>
                </c:pt>
                <c:pt idx="88" formatCode="#,##0">
                  <c:v>1728870</c:v>
                </c:pt>
                <c:pt idx="89" formatCode="#,##0">
                  <c:v>1760370</c:v>
                </c:pt>
                <c:pt idx="90" formatCode="#,##0">
                  <c:v>1766070</c:v>
                </c:pt>
                <c:pt idx="91" formatCode="General">
                  <c:v>1769470</c:v>
                </c:pt>
                <c:pt idx="92" formatCode="General">
                  <c:v>1933270</c:v>
                </c:pt>
                <c:pt idx="93" formatCode="General">
                  <c:v>1933270</c:v>
                </c:pt>
                <c:pt idx="94" formatCode="General">
                  <c:v>1964870</c:v>
                </c:pt>
                <c:pt idx="95" formatCode="General">
                  <c:v>1964870</c:v>
                </c:pt>
                <c:pt idx="96" formatCode="General">
                  <c:v>1964870</c:v>
                </c:pt>
                <c:pt idx="97" formatCode="General">
                  <c:v>1964870</c:v>
                </c:pt>
                <c:pt idx="98" formatCode="General">
                  <c:v>1964870</c:v>
                </c:pt>
                <c:pt idx="99" formatCode="General">
                  <c:v>1970170</c:v>
                </c:pt>
                <c:pt idx="100" formatCode="General">
                  <c:v>2255650</c:v>
                </c:pt>
                <c:pt idx="101" formatCode="General">
                  <c:v>2255650</c:v>
                </c:pt>
                <c:pt idx="102" formatCode="General">
                  <c:v>2361550</c:v>
                </c:pt>
                <c:pt idx="103" formatCode="General">
                  <c:v>2388250</c:v>
                </c:pt>
                <c:pt idx="104" formatCode="General">
                  <c:v>2388250</c:v>
                </c:pt>
                <c:pt idx="105" formatCode="General">
                  <c:v>2391150</c:v>
                </c:pt>
                <c:pt idx="106" formatCode="General">
                  <c:v>2391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3764288"/>
        <c:axId val="50879584"/>
      </c:line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1"/>
      </c:catAx>
      <c:valAx>
        <c:axId val="5087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arlovarský kraj</c:v>
                </c:pt>
                <c:pt idx="1">
                  <c:v>Královéhradecký kraj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Plzeňský kraj</c:v>
                </c:pt>
                <c:pt idx="5">
                  <c:v>Kraj Vysočina</c:v>
                </c:pt>
                <c:pt idx="6">
                  <c:v>ČR</c:v>
                </c:pt>
                <c:pt idx="7">
                  <c:v>Olomoucký kraj</c:v>
                </c:pt>
                <c:pt idx="8">
                  <c:v>Zlínský kraj</c:v>
                </c:pt>
                <c:pt idx="9">
                  <c:v>Pardubický kraj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Liberecký kraj</c:v>
                </c:pt>
                <c:pt idx="13">
                  <c:v>Moravskoslezs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66.63046724404745</c:v>
                </c:pt>
                <c:pt idx="1">
                  <c:v>142.94829845897831</c:v>
                </c:pt>
                <c:pt idx="2">
                  <c:v>138.87340606723046</c:v>
                </c:pt>
                <c:pt idx="3">
                  <c:v>138.40231311122974</c:v>
                </c:pt>
                <c:pt idx="4">
                  <c:v>135.98429561670727</c:v>
                </c:pt>
                <c:pt idx="5">
                  <c:v>135.61050816671997</c:v>
                </c:pt>
                <c:pt idx="6">
                  <c:v>134.80617385231017</c:v>
                </c:pt>
                <c:pt idx="7">
                  <c:v>134.69300570397854</c:v>
                </c:pt>
                <c:pt idx="8">
                  <c:v>134.58986705117974</c:v>
                </c:pt>
                <c:pt idx="9">
                  <c:v>134.27415806008472</c:v>
                </c:pt>
                <c:pt idx="10">
                  <c:v>133.38126442442004</c:v>
                </c:pt>
                <c:pt idx="11">
                  <c:v>131.86455386130368</c:v>
                </c:pt>
                <c:pt idx="12">
                  <c:v>122.61038112195452</c:v>
                </c:pt>
                <c:pt idx="13">
                  <c:v>120.99981758193611</c:v>
                </c:pt>
                <c:pt idx="14">
                  <c:v>119.27914101088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66727035727929074"/>
          <c:h val="0.8353430253390468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 ve věku 70-79 celkem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2:$DE$2</c:f>
              <c:numCache>
                <c:formatCode>General</c:formatCode>
                <c:ptCount val="107"/>
                <c:pt idx="0">
                  <c:v>172</c:v>
                </c:pt>
                <c:pt idx="1">
                  <c:v>325</c:v>
                </c:pt>
                <c:pt idx="2">
                  <c:v>483</c:v>
                </c:pt>
                <c:pt idx="3">
                  <c:v>594</c:v>
                </c:pt>
                <c:pt idx="4">
                  <c:v>602</c:v>
                </c:pt>
                <c:pt idx="5">
                  <c:v>640</c:v>
                </c:pt>
                <c:pt idx="6">
                  <c:v>669</c:v>
                </c:pt>
                <c:pt idx="7">
                  <c:v>795</c:v>
                </c:pt>
                <c:pt idx="8">
                  <c:v>942</c:v>
                </c:pt>
                <c:pt idx="9">
                  <c:v>1175</c:v>
                </c:pt>
                <c:pt idx="10">
                  <c:v>1625</c:v>
                </c:pt>
                <c:pt idx="11">
                  <c:v>2126</c:v>
                </c:pt>
                <c:pt idx="12">
                  <c:v>2305</c:v>
                </c:pt>
                <c:pt idx="13">
                  <c:v>2444</c:v>
                </c:pt>
                <c:pt idx="14">
                  <c:v>2894</c:v>
                </c:pt>
                <c:pt idx="15">
                  <c:v>3794</c:v>
                </c:pt>
                <c:pt idx="16">
                  <c:v>4991</c:v>
                </c:pt>
                <c:pt idx="17">
                  <c:v>6407</c:v>
                </c:pt>
                <c:pt idx="18">
                  <c:v>7638</c:v>
                </c:pt>
                <c:pt idx="19">
                  <c:v>7989</c:v>
                </c:pt>
                <c:pt idx="20">
                  <c:v>8218</c:v>
                </c:pt>
                <c:pt idx="21">
                  <c:v>9217</c:v>
                </c:pt>
                <c:pt idx="22">
                  <c:v>10196</c:v>
                </c:pt>
                <c:pt idx="23">
                  <c:v>11319</c:v>
                </c:pt>
                <c:pt idx="24">
                  <c:v>12463</c:v>
                </c:pt>
                <c:pt idx="25">
                  <c:v>13325</c:v>
                </c:pt>
                <c:pt idx="26">
                  <c:v>13533</c:v>
                </c:pt>
                <c:pt idx="27">
                  <c:v>13665</c:v>
                </c:pt>
                <c:pt idx="28">
                  <c:v>14199</c:v>
                </c:pt>
                <c:pt idx="29">
                  <c:v>14838</c:v>
                </c:pt>
                <c:pt idx="30">
                  <c:v>15428</c:v>
                </c:pt>
                <c:pt idx="31">
                  <c:v>16031</c:v>
                </c:pt>
                <c:pt idx="32">
                  <c:v>16679</c:v>
                </c:pt>
                <c:pt idx="33">
                  <c:v>16812</c:v>
                </c:pt>
                <c:pt idx="34">
                  <c:v>16949</c:v>
                </c:pt>
                <c:pt idx="35">
                  <c:v>17562</c:v>
                </c:pt>
                <c:pt idx="36">
                  <c:v>18415</c:v>
                </c:pt>
                <c:pt idx="37">
                  <c:v>19553</c:v>
                </c:pt>
                <c:pt idx="38">
                  <c:v>20881</c:v>
                </c:pt>
                <c:pt idx="39">
                  <c:v>22019</c:v>
                </c:pt>
                <c:pt idx="40">
                  <c:v>22176</c:v>
                </c:pt>
                <c:pt idx="41">
                  <c:v>22342</c:v>
                </c:pt>
                <c:pt idx="42">
                  <c:v>23284</c:v>
                </c:pt>
                <c:pt idx="43">
                  <c:v>24405</c:v>
                </c:pt>
                <c:pt idx="44">
                  <c:v>25711</c:v>
                </c:pt>
                <c:pt idx="45">
                  <c:v>27424</c:v>
                </c:pt>
                <c:pt idx="46">
                  <c:v>28880</c:v>
                </c:pt>
                <c:pt idx="47">
                  <c:v>29211</c:v>
                </c:pt>
                <c:pt idx="48">
                  <c:v>29297</c:v>
                </c:pt>
                <c:pt idx="49">
                  <c:v>30245</c:v>
                </c:pt>
                <c:pt idx="50">
                  <c:v>31445</c:v>
                </c:pt>
                <c:pt idx="51">
                  <c:v>32708</c:v>
                </c:pt>
                <c:pt idx="52">
                  <c:v>34054</c:v>
                </c:pt>
                <c:pt idx="53">
                  <c:v>35320</c:v>
                </c:pt>
                <c:pt idx="54">
                  <c:v>35452</c:v>
                </c:pt>
                <c:pt idx="55">
                  <c:v>35515</c:v>
                </c:pt>
                <c:pt idx="56">
                  <c:v>36376</c:v>
                </c:pt>
                <c:pt idx="57">
                  <c:v>37414</c:v>
                </c:pt>
                <c:pt idx="58">
                  <c:v>38827</c:v>
                </c:pt>
                <c:pt idx="59">
                  <c:v>40493</c:v>
                </c:pt>
                <c:pt idx="60">
                  <c:v>42449</c:v>
                </c:pt>
                <c:pt idx="61">
                  <c:v>42762</c:v>
                </c:pt>
                <c:pt idx="62">
                  <c:v>42903</c:v>
                </c:pt>
                <c:pt idx="63">
                  <c:v>45551</c:v>
                </c:pt>
                <c:pt idx="64">
                  <c:v>50912</c:v>
                </c:pt>
                <c:pt idx="65">
                  <c:v>60089</c:v>
                </c:pt>
                <c:pt idx="66">
                  <c:v>72425</c:v>
                </c:pt>
                <c:pt idx="67">
                  <c:v>84516</c:v>
                </c:pt>
                <c:pt idx="68">
                  <c:v>89440</c:v>
                </c:pt>
                <c:pt idx="69">
                  <c:v>94074</c:v>
                </c:pt>
                <c:pt idx="70">
                  <c:v>108226</c:v>
                </c:pt>
                <c:pt idx="71">
                  <c:v>125737</c:v>
                </c:pt>
                <c:pt idx="72">
                  <c:v>148446</c:v>
                </c:pt>
                <c:pt idx="73">
                  <c:v>173420</c:v>
                </c:pt>
                <c:pt idx="74">
                  <c:v>195852</c:v>
                </c:pt>
                <c:pt idx="75">
                  <c:v>206356</c:v>
                </c:pt>
                <c:pt idx="76">
                  <c:v>213984</c:v>
                </c:pt>
                <c:pt idx="77">
                  <c:v>231657</c:v>
                </c:pt>
                <c:pt idx="78">
                  <c:v>254394</c:v>
                </c:pt>
                <c:pt idx="79">
                  <c:v>277604</c:v>
                </c:pt>
                <c:pt idx="80">
                  <c:v>301089</c:v>
                </c:pt>
                <c:pt idx="81">
                  <c:v>320768</c:v>
                </c:pt>
                <c:pt idx="82">
                  <c:v>329998</c:v>
                </c:pt>
                <c:pt idx="83">
                  <c:v>334852</c:v>
                </c:pt>
                <c:pt idx="84">
                  <c:v>350427</c:v>
                </c:pt>
                <c:pt idx="85">
                  <c:v>367867</c:v>
                </c:pt>
                <c:pt idx="86">
                  <c:v>386556</c:v>
                </c:pt>
                <c:pt idx="87">
                  <c:v>404899</c:v>
                </c:pt>
                <c:pt idx="88">
                  <c:v>421093</c:v>
                </c:pt>
                <c:pt idx="89">
                  <c:v>428081</c:v>
                </c:pt>
                <c:pt idx="90">
                  <c:v>432259</c:v>
                </c:pt>
                <c:pt idx="91">
                  <c:v>449291</c:v>
                </c:pt>
                <c:pt idx="92">
                  <c:v>470237</c:v>
                </c:pt>
                <c:pt idx="93">
                  <c:v>493553</c:v>
                </c:pt>
                <c:pt idx="94">
                  <c:v>521094</c:v>
                </c:pt>
                <c:pt idx="95">
                  <c:v>531355</c:v>
                </c:pt>
                <c:pt idx="96">
                  <c:v>538683</c:v>
                </c:pt>
                <c:pt idx="97">
                  <c:v>544465</c:v>
                </c:pt>
                <c:pt idx="98">
                  <c:v>549626</c:v>
                </c:pt>
                <c:pt idx="99">
                  <c:v>572473</c:v>
                </c:pt>
                <c:pt idx="100">
                  <c:v>595709</c:v>
                </c:pt>
                <c:pt idx="101">
                  <c:v>633550</c:v>
                </c:pt>
                <c:pt idx="102">
                  <c:v>667947</c:v>
                </c:pt>
                <c:pt idx="103">
                  <c:v>684918</c:v>
                </c:pt>
                <c:pt idx="104">
                  <c:v>696811</c:v>
                </c:pt>
                <c:pt idx="105">
                  <c:v>730611</c:v>
                </c:pt>
                <c:pt idx="106">
                  <c:v>760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Osoby ve věku 80+ celkem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3:$DE$3</c:f>
              <c:numCache>
                <c:formatCode>General</c:formatCode>
                <c:ptCount val="107"/>
                <c:pt idx="0">
                  <c:v>123</c:v>
                </c:pt>
                <c:pt idx="1">
                  <c:v>403</c:v>
                </c:pt>
                <c:pt idx="2">
                  <c:v>587</c:v>
                </c:pt>
                <c:pt idx="3">
                  <c:v>705</c:v>
                </c:pt>
                <c:pt idx="4">
                  <c:v>708</c:v>
                </c:pt>
                <c:pt idx="5">
                  <c:v>720</c:v>
                </c:pt>
                <c:pt idx="6">
                  <c:v>723</c:v>
                </c:pt>
                <c:pt idx="7">
                  <c:v>754</c:v>
                </c:pt>
                <c:pt idx="8">
                  <c:v>795</c:v>
                </c:pt>
                <c:pt idx="9">
                  <c:v>862</c:v>
                </c:pt>
                <c:pt idx="10">
                  <c:v>1261</c:v>
                </c:pt>
                <c:pt idx="11">
                  <c:v>2118</c:v>
                </c:pt>
                <c:pt idx="12">
                  <c:v>2304</c:v>
                </c:pt>
                <c:pt idx="13">
                  <c:v>2411</c:v>
                </c:pt>
                <c:pt idx="14">
                  <c:v>3044</c:v>
                </c:pt>
                <c:pt idx="15">
                  <c:v>4695</c:v>
                </c:pt>
                <c:pt idx="16">
                  <c:v>6384</c:v>
                </c:pt>
                <c:pt idx="17">
                  <c:v>8665</c:v>
                </c:pt>
                <c:pt idx="18">
                  <c:v>10944</c:v>
                </c:pt>
                <c:pt idx="19">
                  <c:v>12451</c:v>
                </c:pt>
                <c:pt idx="20">
                  <c:v>14094</c:v>
                </c:pt>
                <c:pt idx="21">
                  <c:v>18784</c:v>
                </c:pt>
                <c:pt idx="22">
                  <c:v>24428</c:v>
                </c:pt>
                <c:pt idx="23">
                  <c:v>30944</c:v>
                </c:pt>
                <c:pt idx="24">
                  <c:v>39213</c:v>
                </c:pt>
                <c:pt idx="25">
                  <c:v>48122</c:v>
                </c:pt>
                <c:pt idx="26">
                  <c:v>50584</c:v>
                </c:pt>
                <c:pt idx="27">
                  <c:v>52415</c:v>
                </c:pt>
                <c:pt idx="28">
                  <c:v>58556</c:v>
                </c:pt>
                <c:pt idx="29">
                  <c:v>64902</c:v>
                </c:pt>
                <c:pt idx="30">
                  <c:v>70379</c:v>
                </c:pt>
                <c:pt idx="31">
                  <c:v>75015</c:v>
                </c:pt>
                <c:pt idx="32">
                  <c:v>79347</c:v>
                </c:pt>
                <c:pt idx="33">
                  <c:v>79975</c:v>
                </c:pt>
                <c:pt idx="34">
                  <c:v>80634</c:v>
                </c:pt>
                <c:pt idx="35">
                  <c:v>83564</c:v>
                </c:pt>
                <c:pt idx="36">
                  <c:v>86889</c:v>
                </c:pt>
                <c:pt idx="37">
                  <c:v>90481</c:v>
                </c:pt>
                <c:pt idx="38">
                  <c:v>95245</c:v>
                </c:pt>
                <c:pt idx="39">
                  <c:v>99983</c:v>
                </c:pt>
                <c:pt idx="40">
                  <c:v>101760</c:v>
                </c:pt>
                <c:pt idx="41">
                  <c:v>103862</c:v>
                </c:pt>
                <c:pt idx="42">
                  <c:v>109902</c:v>
                </c:pt>
                <c:pt idx="43">
                  <c:v>117420</c:v>
                </c:pt>
                <c:pt idx="44">
                  <c:v>126114</c:v>
                </c:pt>
                <c:pt idx="45">
                  <c:v>137252</c:v>
                </c:pt>
                <c:pt idx="46">
                  <c:v>148602</c:v>
                </c:pt>
                <c:pt idx="47">
                  <c:v>151498</c:v>
                </c:pt>
                <c:pt idx="48">
                  <c:v>153285</c:v>
                </c:pt>
                <c:pt idx="49">
                  <c:v>162152</c:v>
                </c:pt>
                <c:pt idx="50">
                  <c:v>172649</c:v>
                </c:pt>
                <c:pt idx="51">
                  <c:v>182741</c:v>
                </c:pt>
                <c:pt idx="52">
                  <c:v>194473</c:v>
                </c:pt>
                <c:pt idx="53">
                  <c:v>205530</c:v>
                </c:pt>
                <c:pt idx="54">
                  <c:v>207703</c:v>
                </c:pt>
                <c:pt idx="55">
                  <c:v>209321</c:v>
                </c:pt>
                <c:pt idx="56">
                  <c:v>219289</c:v>
                </c:pt>
                <c:pt idx="57">
                  <c:v>231179</c:v>
                </c:pt>
                <c:pt idx="58">
                  <c:v>242293</c:v>
                </c:pt>
                <c:pt idx="59">
                  <c:v>255556</c:v>
                </c:pt>
                <c:pt idx="60">
                  <c:v>266865</c:v>
                </c:pt>
                <c:pt idx="61">
                  <c:v>269071</c:v>
                </c:pt>
                <c:pt idx="62">
                  <c:v>270719</c:v>
                </c:pt>
                <c:pt idx="63">
                  <c:v>280573</c:v>
                </c:pt>
                <c:pt idx="64">
                  <c:v>290231</c:v>
                </c:pt>
                <c:pt idx="65">
                  <c:v>300319</c:v>
                </c:pt>
                <c:pt idx="66">
                  <c:v>310692</c:v>
                </c:pt>
                <c:pt idx="67">
                  <c:v>319149</c:v>
                </c:pt>
                <c:pt idx="68">
                  <c:v>321577</c:v>
                </c:pt>
                <c:pt idx="69">
                  <c:v>323754</c:v>
                </c:pt>
                <c:pt idx="70">
                  <c:v>331246</c:v>
                </c:pt>
                <c:pt idx="71">
                  <c:v>340413</c:v>
                </c:pt>
                <c:pt idx="72">
                  <c:v>350267</c:v>
                </c:pt>
                <c:pt idx="73">
                  <c:v>360601</c:v>
                </c:pt>
                <c:pt idx="74">
                  <c:v>368810</c:v>
                </c:pt>
                <c:pt idx="75">
                  <c:v>371099</c:v>
                </c:pt>
                <c:pt idx="76">
                  <c:v>372701</c:v>
                </c:pt>
                <c:pt idx="77">
                  <c:v>380097</c:v>
                </c:pt>
                <c:pt idx="78">
                  <c:v>389951</c:v>
                </c:pt>
                <c:pt idx="79">
                  <c:v>399309</c:v>
                </c:pt>
                <c:pt idx="80">
                  <c:v>410532</c:v>
                </c:pt>
                <c:pt idx="81">
                  <c:v>421283</c:v>
                </c:pt>
                <c:pt idx="82">
                  <c:v>423610</c:v>
                </c:pt>
                <c:pt idx="83">
                  <c:v>425198</c:v>
                </c:pt>
                <c:pt idx="84">
                  <c:v>432810</c:v>
                </c:pt>
                <c:pt idx="85">
                  <c:v>440559</c:v>
                </c:pt>
                <c:pt idx="86">
                  <c:v>448386</c:v>
                </c:pt>
                <c:pt idx="87">
                  <c:v>457997</c:v>
                </c:pt>
                <c:pt idx="88">
                  <c:v>465621</c:v>
                </c:pt>
                <c:pt idx="89">
                  <c:v>467422</c:v>
                </c:pt>
                <c:pt idx="90">
                  <c:v>468744</c:v>
                </c:pt>
                <c:pt idx="91">
                  <c:v>475156</c:v>
                </c:pt>
                <c:pt idx="92">
                  <c:v>481393</c:v>
                </c:pt>
                <c:pt idx="93">
                  <c:v>488198</c:v>
                </c:pt>
                <c:pt idx="94">
                  <c:v>495277</c:v>
                </c:pt>
                <c:pt idx="95">
                  <c:v>497295</c:v>
                </c:pt>
                <c:pt idx="96">
                  <c:v>498763</c:v>
                </c:pt>
                <c:pt idx="97">
                  <c:v>500087</c:v>
                </c:pt>
                <c:pt idx="98">
                  <c:v>500985</c:v>
                </c:pt>
                <c:pt idx="99">
                  <c:v>505290</c:v>
                </c:pt>
                <c:pt idx="100">
                  <c:v>509553</c:v>
                </c:pt>
                <c:pt idx="101">
                  <c:v>515404</c:v>
                </c:pt>
                <c:pt idx="102">
                  <c:v>520209</c:v>
                </c:pt>
                <c:pt idx="103">
                  <c:v>521933</c:v>
                </c:pt>
                <c:pt idx="104">
                  <c:v>522972</c:v>
                </c:pt>
                <c:pt idx="105">
                  <c:v>526143</c:v>
                </c:pt>
                <c:pt idx="106">
                  <c:v>529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Zdravotničtí pracovníci / ochrana veřejného zdraví celkem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4:$DE$4</c:f>
              <c:numCache>
                <c:formatCode>General</c:formatCode>
                <c:ptCount val="107"/>
                <c:pt idx="0">
                  <c:v>3085</c:v>
                </c:pt>
                <c:pt idx="1">
                  <c:v>5933</c:v>
                </c:pt>
                <c:pt idx="2">
                  <c:v>8820</c:v>
                </c:pt>
                <c:pt idx="3">
                  <c:v>9798</c:v>
                </c:pt>
                <c:pt idx="4">
                  <c:v>10043</c:v>
                </c:pt>
                <c:pt idx="5">
                  <c:v>11227</c:v>
                </c:pt>
                <c:pt idx="6">
                  <c:v>12095</c:v>
                </c:pt>
                <c:pt idx="7">
                  <c:v>15391</c:v>
                </c:pt>
                <c:pt idx="8">
                  <c:v>19564</c:v>
                </c:pt>
                <c:pt idx="9">
                  <c:v>24858</c:v>
                </c:pt>
                <c:pt idx="10">
                  <c:v>31340</c:v>
                </c:pt>
                <c:pt idx="11">
                  <c:v>38674</c:v>
                </c:pt>
                <c:pt idx="12">
                  <c:v>39991</c:v>
                </c:pt>
                <c:pt idx="13">
                  <c:v>41155</c:v>
                </c:pt>
                <c:pt idx="14">
                  <c:v>48483</c:v>
                </c:pt>
                <c:pt idx="15">
                  <c:v>57061</c:v>
                </c:pt>
                <c:pt idx="16">
                  <c:v>64563</c:v>
                </c:pt>
                <c:pt idx="17">
                  <c:v>72552</c:v>
                </c:pt>
                <c:pt idx="18">
                  <c:v>79501</c:v>
                </c:pt>
                <c:pt idx="19">
                  <c:v>80601</c:v>
                </c:pt>
                <c:pt idx="20">
                  <c:v>81813</c:v>
                </c:pt>
                <c:pt idx="21">
                  <c:v>88575</c:v>
                </c:pt>
                <c:pt idx="22">
                  <c:v>95074</c:v>
                </c:pt>
                <c:pt idx="23">
                  <c:v>101422</c:v>
                </c:pt>
                <c:pt idx="24">
                  <c:v>107016</c:v>
                </c:pt>
                <c:pt idx="25">
                  <c:v>111252</c:v>
                </c:pt>
                <c:pt idx="26">
                  <c:v>112632</c:v>
                </c:pt>
                <c:pt idx="27">
                  <c:v>113892</c:v>
                </c:pt>
                <c:pt idx="28">
                  <c:v>118792</c:v>
                </c:pt>
                <c:pt idx="29">
                  <c:v>124706</c:v>
                </c:pt>
                <c:pt idx="30">
                  <c:v>130762</c:v>
                </c:pt>
                <c:pt idx="31">
                  <c:v>137573</c:v>
                </c:pt>
                <c:pt idx="32">
                  <c:v>145199</c:v>
                </c:pt>
                <c:pt idx="33">
                  <c:v>145954</c:v>
                </c:pt>
                <c:pt idx="34">
                  <c:v>146697</c:v>
                </c:pt>
                <c:pt idx="35">
                  <c:v>153773</c:v>
                </c:pt>
                <c:pt idx="36">
                  <c:v>161980</c:v>
                </c:pt>
                <c:pt idx="37">
                  <c:v>169799</c:v>
                </c:pt>
                <c:pt idx="38">
                  <c:v>178365</c:v>
                </c:pt>
                <c:pt idx="39">
                  <c:v>185802</c:v>
                </c:pt>
                <c:pt idx="40">
                  <c:v>186810</c:v>
                </c:pt>
                <c:pt idx="41">
                  <c:v>187749</c:v>
                </c:pt>
                <c:pt idx="42">
                  <c:v>194066</c:v>
                </c:pt>
                <c:pt idx="43">
                  <c:v>199686</c:v>
                </c:pt>
                <c:pt idx="44">
                  <c:v>205180</c:v>
                </c:pt>
                <c:pt idx="45">
                  <c:v>210976</c:v>
                </c:pt>
                <c:pt idx="46">
                  <c:v>216373</c:v>
                </c:pt>
                <c:pt idx="47">
                  <c:v>217534</c:v>
                </c:pt>
                <c:pt idx="48">
                  <c:v>218063</c:v>
                </c:pt>
                <c:pt idx="49">
                  <c:v>222609</c:v>
                </c:pt>
                <c:pt idx="50">
                  <c:v>226430</c:v>
                </c:pt>
                <c:pt idx="51">
                  <c:v>229887</c:v>
                </c:pt>
                <c:pt idx="52">
                  <c:v>233653</c:v>
                </c:pt>
                <c:pt idx="53">
                  <c:v>237784</c:v>
                </c:pt>
                <c:pt idx="54">
                  <c:v>238399</c:v>
                </c:pt>
                <c:pt idx="55">
                  <c:v>238669</c:v>
                </c:pt>
                <c:pt idx="56">
                  <c:v>241770</c:v>
                </c:pt>
                <c:pt idx="57">
                  <c:v>245975</c:v>
                </c:pt>
                <c:pt idx="58">
                  <c:v>250023</c:v>
                </c:pt>
                <c:pt idx="59">
                  <c:v>254919</c:v>
                </c:pt>
                <c:pt idx="60">
                  <c:v>259388</c:v>
                </c:pt>
                <c:pt idx="61">
                  <c:v>259810</c:v>
                </c:pt>
                <c:pt idx="62">
                  <c:v>260121</c:v>
                </c:pt>
                <c:pt idx="63">
                  <c:v>263794</c:v>
                </c:pt>
                <c:pt idx="64">
                  <c:v>267940</c:v>
                </c:pt>
                <c:pt idx="65">
                  <c:v>272197</c:v>
                </c:pt>
                <c:pt idx="66">
                  <c:v>275865</c:v>
                </c:pt>
                <c:pt idx="67">
                  <c:v>280354</c:v>
                </c:pt>
                <c:pt idx="68">
                  <c:v>281218</c:v>
                </c:pt>
                <c:pt idx="69">
                  <c:v>281954</c:v>
                </c:pt>
                <c:pt idx="70">
                  <c:v>285277</c:v>
                </c:pt>
                <c:pt idx="71">
                  <c:v>288911</c:v>
                </c:pt>
                <c:pt idx="72">
                  <c:v>292974</c:v>
                </c:pt>
                <c:pt idx="73">
                  <c:v>298146</c:v>
                </c:pt>
                <c:pt idx="74">
                  <c:v>303159</c:v>
                </c:pt>
                <c:pt idx="75">
                  <c:v>304133</c:v>
                </c:pt>
                <c:pt idx="76">
                  <c:v>305116</c:v>
                </c:pt>
                <c:pt idx="77">
                  <c:v>308836</c:v>
                </c:pt>
                <c:pt idx="78">
                  <c:v>313488</c:v>
                </c:pt>
                <c:pt idx="79">
                  <c:v>318206</c:v>
                </c:pt>
                <c:pt idx="80">
                  <c:v>322941</c:v>
                </c:pt>
                <c:pt idx="81">
                  <c:v>328583</c:v>
                </c:pt>
                <c:pt idx="82">
                  <c:v>330051</c:v>
                </c:pt>
                <c:pt idx="83">
                  <c:v>330865</c:v>
                </c:pt>
                <c:pt idx="84">
                  <c:v>334562</c:v>
                </c:pt>
                <c:pt idx="85">
                  <c:v>338452</c:v>
                </c:pt>
                <c:pt idx="86">
                  <c:v>342253</c:v>
                </c:pt>
                <c:pt idx="87">
                  <c:v>346472</c:v>
                </c:pt>
                <c:pt idx="88">
                  <c:v>351311</c:v>
                </c:pt>
                <c:pt idx="89">
                  <c:v>352584</c:v>
                </c:pt>
                <c:pt idx="90">
                  <c:v>353422</c:v>
                </c:pt>
                <c:pt idx="91">
                  <c:v>356857</c:v>
                </c:pt>
                <c:pt idx="92">
                  <c:v>360699</c:v>
                </c:pt>
                <c:pt idx="93">
                  <c:v>364661</c:v>
                </c:pt>
                <c:pt idx="94">
                  <c:v>369166</c:v>
                </c:pt>
                <c:pt idx="95">
                  <c:v>370699</c:v>
                </c:pt>
                <c:pt idx="96">
                  <c:v>371865</c:v>
                </c:pt>
                <c:pt idx="97">
                  <c:v>372616</c:v>
                </c:pt>
                <c:pt idx="98">
                  <c:v>373268</c:v>
                </c:pt>
                <c:pt idx="99">
                  <c:v>377175</c:v>
                </c:pt>
                <c:pt idx="100">
                  <c:v>380281</c:v>
                </c:pt>
                <c:pt idx="101">
                  <c:v>384285</c:v>
                </c:pt>
                <c:pt idx="102">
                  <c:v>388623</c:v>
                </c:pt>
                <c:pt idx="103">
                  <c:v>390357</c:v>
                </c:pt>
                <c:pt idx="104">
                  <c:v>391381</c:v>
                </c:pt>
                <c:pt idx="105">
                  <c:v>394376</c:v>
                </c:pt>
                <c:pt idx="106">
                  <c:v>39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Ostatní</c:v>
                </c:pt>
              </c:strCache>
            </c:strRef>
          </c:tx>
          <c:spPr>
            <a:ln w="28575" cap="rnd">
              <a:solidFill>
                <a:srgbClr val="FFFFFF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5:$DE$5</c:f>
              <c:numCache>
                <c:formatCode>General</c:formatCode>
                <c:ptCount val="107"/>
                <c:pt idx="0">
                  <c:v>247</c:v>
                </c:pt>
                <c:pt idx="1">
                  <c:v>442</c:v>
                </c:pt>
                <c:pt idx="2">
                  <c:v>689</c:v>
                </c:pt>
                <c:pt idx="3">
                  <c:v>774</c:v>
                </c:pt>
                <c:pt idx="4">
                  <c:v>781</c:v>
                </c:pt>
                <c:pt idx="5">
                  <c:v>831</c:v>
                </c:pt>
                <c:pt idx="6">
                  <c:v>865</c:v>
                </c:pt>
                <c:pt idx="7">
                  <c:v>1068</c:v>
                </c:pt>
                <c:pt idx="8">
                  <c:v>1286</c:v>
                </c:pt>
                <c:pt idx="9">
                  <c:v>1611</c:v>
                </c:pt>
                <c:pt idx="10">
                  <c:v>2255</c:v>
                </c:pt>
                <c:pt idx="11">
                  <c:v>3088</c:v>
                </c:pt>
                <c:pt idx="12">
                  <c:v>3363</c:v>
                </c:pt>
                <c:pt idx="13">
                  <c:v>3690</c:v>
                </c:pt>
                <c:pt idx="14">
                  <c:v>4978</c:v>
                </c:pt>
                <c:pt idx="15">
                  <c:v>6979</c:v>
                </c:pt>
                <c:pt idx="16">
                  <c:v>9167</c:v>
                </c:pt>
                <c:pt idx="17">
                  <c:v>11304</c:v>
                </c:pt>
                <c:pt idx="18">
                  <c:v>13251</c:v>
                </c:pt>
                <c:pt idx="19">
                  <c:v>13550</c:v>
                </c:pt>
                <c:pt idx="20">
                  <c:v>13739</c:v>
                </c:pt>
                <c:pt idx="21">
                  <c:v>14570</c:v>
                </c:pt>
                <c:pt idx="22">
                  <c:v>15292</c:v>
                </c:pt>
                <c:pt idx="23">
                  <c:v>16057</c:v>
                </c:pt>
                <c:pt idx="24">
                  <c:v>16773</c:v>
                </c:pt>
                <c:pt idx="25">
                  <c:v>17283</c:v>
                </c:pt>
                <c:pt idx="26">
                  <c:v>17400</c:v>
                </c:pt>
                <c:pt idx="27">
                  <c:v>17489</c:v>
                </c:pt>
                <c:pt idx="28">
                  <c:v>17842</c:v>
                </c:pt>
                <c:pt idx="29">
                  <c:v>18245</c:v>
                </c:pt>
                <c:pt idx="30">
                  <c:v>18635</c:v>
                </c:pt>
                <c:pt idx="31">
                  <c:v>19128</c:v>
                </c:pt>
                <c:pt idx="32">
                  <c:v>19890</c:v>
                </c:pt>
                <c:pt idx="33">
                  <c:v>20100</c:v>
                </c:pt>
                <c:pt idx="34">
                  <c:v>20420</c:v>
                </c:pt>
                <c:pt idx="35">
                  <c:v>21427</c:v>
                </c:pt>
                <c:pt idx="36">
                  <c:v>23078</c:v>
                </c:pt>
                <c:pt idx="37">
                  <c:v>25089</c:v>
                </c:pt>
                <c:pt idx="38">
                  <c:v>27235</c:v>
                </c:pt>
                <c:pt idx="39">
                  <c:v>29021</c:v>
                </c:pt>
                <c:pt idx="40">
                  <c:v>29332</c:v>
                </c:pt>
                <c:pt idx="41">
                  <c:v>29516</c:v>
                </c:pt>
                <c:pt idx="42">
                  <c:v>30502</c:v>
                </c:pt>
                <c:pt idx="43">
                  <c:v>31575</c:v>
                </c:pt>
                <c:pt idx="44">
                  <c:v>32781</c:v>
                </c:pt>
                <c:pt idx="45">
                  <c:v>34118</c:v>
                </c:pt>
                <c:pt idx="46">
                  <c:v>35023</c:v>
                </c:pt>
                <c:pt idx="47">
                  <c:v>35141</c:v>
                </c:pt>
                <c:pt idx="48">
                  <c:v>35213</c:v>
                </c:pt>
                <c:pt idx="49">
                  <c:v>35928</c:v>
                </c:pt>
                <c:pt idx="50">
                  <c:v>36520</c:v>
                </c:pt>
                <c:pt idx="51">
                  <c:v>37520</c:v>
                </c:pt>
                <c:pt idx="52">
                  <c:v>38672</c:v>
                </c:pt>
                <c:pt idx="53">
                  <c:v>39934</c:v>
                </c:pt>
                <c:pt idx="54">
                  <c:v>40110</c:v>
                </c:pt>
                <c:pt idx="55">
                  <c:v>40218</c:v>
                </c:pt>
                <c:pt idx="56">
                  <c:v>41365</c:v>
                </c:pt>
                <c:pt idx="57">
                  <c:v>42585</c:v>
                </c:pt>
                <c:pt idx="58">
                  <c:v>44235</c:v>
                </c:pt>
                <c:pt idx="59">
                  <c:v>45938</c:v>
                </c:pt>
                <c:pt idx="60">
                  <c:v>48056</c:v>
                </c:pt>
                <c:pt idx="61">
                  <c:v>48489</c:v>
                </c:pt>
                <c:pt idx="62">
                  <c:v>49023</c:v>
                </c:pt>
                <c:pt idx="63">
                  <c:v>51640</c:v>
                </c:pt>
                <c:pt idx="64">
                  <c:v>55513</c:v>
                </c:pt>
                <c:pt idx="65">
                  <c:v>59258</c:v>
                </c:pt>
                <c:pt idx="66">
                  <c:v>62439</c:v>
                </c:pt>
                <c:pt idx="67">
                  <c:v>65269</c:v>
                </c:pt>
                <c:pt idx="68">
                  <c:v>66603</c:v>
                </c:pt>
                <c:pt idx="69">
                  <c:v>67964</c:v>
                </c:pt>
                <c:pt idx="70">
                  <c:v>70843</c:v>
                </c:pt>
                <c:pt idx="71">
                  <c:v>74087</c:v>
                </c:pt>
                <c:pt idx="72">
                  <c:v>77018</c:v>
                </c:pt>
                <c:pt idx="73">
                  <c:v>80743</c:v>
                </c:pt>
                <c:pt idx="74">
                  <c:v>84515</c:v>
                </c:pt>
                <c:pt idx="75">
                  <c:v>85810</c:v>
                </c:pt>
                <c:pt idx="76">
                  <c:v>86974</c:v>
                </c:pt>
                <c:pt idx="77">
                  <c:v>90043</c:v>
                </c:pt>
                <c:pt idx="78">
                  <c:v>93491</c:v>
                </c:pt>
                <c:pt idx="79">
                  <c:v>96830</c:v>
                </c:pt>
                <c:pt idx="80">
                  <c:v>99846</c:v>
                </c:pt>
                <c:pt idx="81">
                  <c:v>103500</c:v>
                </c:pt>
                <c:pt idx="82">
                  <c:v>104732</c:v>
                </c:pt>
                <c:pt idx="83">
                  <c:v>105572</c:v>
                </c:pt>
                <c:pt idx="84">
                  <c:v>108289</c:v>
                </c:pt>
                <c:pt idx="85">
                  <c:v>111301</c:v>
                </c:pt>
                <c:pt idx="86">
                  <c:v>115309</c:v>
                </c:pt>
                <c:pt idx="87">
                  <c:v>119198</c:v>
                </c:pt>
                <c:pt idx="88">
                  <c:v>123400</c:v>
                </c:pt>
                <c:pt idx="89">
                  <c:v>124559</c:v>
                </c:pt>
                <c:pt idx="90">
                  <c:v>125930</c:v>
                </c:pt>
                <c:pt idx="91">
                  <c:v>129758</c:v>
                </c:pt>
                <c:pt idx="92">
                  <c:v>134148</c:v>
                </c:pt>
                <c:pt idx="93">
                  <c:v>138830</c:v>
                </c:pt>
                <c:pt idx="94">
                  <c:v>144843</c:v>
                </c:pt>
                <c:pt idx="95">
                  <c:v>147011</c:v>
                </c:pt>
                <c:pt idx="96">
                  <c:v>149127</c:v>
                </c:pt>
                <c:pt idx="97">
                  <c:v>150528</c:v>
                </c:pt>
                <c:pt idx="98">
                  <c:v>152137</c:v>
                </c:pt>
                <c:pt idx="99">
                  <c:v>157435</c:v>
                </c:pt>
                <c:pt idx="100">
                  <c:v>161562</c:v>
                </c:pt>
                <c:pt idx="101">
                  <c:v>168601</c:v>
                </c:pt>
                <c:pt idx="102">
                  <c:v>177498</c:v>
                </c:pt>
                <c:pt idx="103">
                  <c:v>181087</c:v>
                </c:pt>
                <c:pt idx="104">
                  <c:v>182997</c:v>
                </c:pt>
                <c:pt idx="105">
                  <c:v>189549</c:v>
                </c:pt>
                <c:pt idx="106">
                  <c:v>1958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B2-46E3-85FE-A83BCF6CC085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Pracovníci ve školství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6:$DE$6</c:f>
              <c:numCache>
                <c:formatCode>General</c:formatCode>
                <c:ptCount val="10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6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1</c:v>
                </c:pt>
                <c:pt idx="47">
                  <c:v>12</c:v>
                </c:pt>
                <c:pt idx="48">
                  <c:v>12</c:v>
                </c:pt>
                <c:pt idx="49">
                  <c:v>12</c:v>
                </c:pt>
                <c:pt idx="50">
                  <c:v>13</c:v>
                </c:pt>
                <c:pt idx="51">
                  <c:v>14</c:v>
                </c:pt>
                <c:pt idx="52">
                  <c:v>16</c:v>
                </c:pt>
                <c:pt idx="53">
                  <c:v>18</c:v>
                </c:pt>
                <c:pt idx="54">
                  <c:v>21</c:v>
                </c:pt>
                <c:pt idx="55">
                  <c:v>21</c:v>
                </c:pt>
                <c:pt idx="56">
                  <c:v>23</c:v>
                </c:pt>
                <c:pt idx="57">
                  <c:v>25</c:v>
                </c:pt>
                <c:pt idx="58">
                  <c:v>32</c:v>
                </c:pt>
                <c:pt idx="59">
                  <c:v>77</c:v>
                </c:pt>
                <c:pt idx="60">
                  <c:v>132</c:v>
                </c:pt>
                <c:pt idx="61">
                  <c:v>167</c:v>
                </c:pt>
                <c:pt idx="62">
                  <c:v>359</c:v>
                </c:pt>
                <c:pt idx="63">
                  <c:v>3742</c:v>
                </c:pt>
                <c:pt idx="64">
                  <c:v>10332</c:v>
                </c:pt>
                <c:pt idx="65">
                  <c:v>16213</c:v>
                </c:pt>
                <c:pt idx="66">
                  <c:v>22729</c:v>
                </c:pt>
                <c:pt idx="67">
                  <c:v>27383</c:v>
                </c:pt>
                <c:pt idx="68">
                  <c:v>29928</c:v>
                </c:pt>
                <c:pt idx="69">
                  <c:v>32456</c:v>
                </c:pt>
                <c:pt idx="70">
                  <c:v>38116</c:v>
                </c:pt>
                <c:pt idx="71">
                  <c:v>44893</c:v>
                </c:pt>
                <c:pt idx="72">
                  <c:v>50615</c:v>
                </c:pt>
                <c:pt idx="73">
                  <c:v>56132</c:v>
                </c:pt>
                <c:pt idx="74">
                  <c:v>60477</c:v>
                </c:pt>
                <c:pt idx="75">
                  <c:v>63114</c:v>
                </c:pt>
                <c:pt idx="76">
                  <c:v>64784</c:v>
                </c:pt>
                <c:pt idx="77">
                  <c:v>67537</c:v>
                </c:pt>
                <c:pt idx="78">
                  <c:v>72841</c:v>
                </c:pt>
                <c:pt idx="79">
                  <c:v>77043</c:v>
                </c:pt>
                <c:pt idx="80">
                  <c:v>81084</c:v>
                </c:pt>
                <c:pt idx="81">
                  <c:v>85749</c:v>
                </c:pt>
                <c:pt idx="82">
                  <c:v>87994</c:v>
                </c:pt>
                <c:pt idx="83">
                  <c:v>88715</c:v>
                </c:pt>
                <c:pt idx="84">
                  <c:v>93462</c:v>
                </c:pt>
                <c:pt idx="85">
                  <c:v>98023</c:v>
                </c:pt>
                <c:pt idx="86">
                  <c:v>102483</c:v>
                </c:pt>
                <c:pt idx="87">
                  <c:v>107043</c:v>
                </c:pt>
                <c:pt idx="88">
                  <c:v>112494</c:v>
                </c:pt>
                <c:pt idx="89">
                  <c:v>113985</c:v>
                </c:pt>
                <c:pt idx="90">
                  <c:v>115576</c:v>
                </c:pt>
                <c:pt idx="91">
                  <c:v>121551</c:v>
                </c:pt>
                <c:pt idx="92">
                  <c:v>129288</c:v>
                </c:pt>
                <c:pt idx="93">
                  <c:v>135635</c:v>
                </c:pt>
                <c:pt idx="94">
                  <c:v>142688</c:v>
                </c:pt>
                <c:pt idx="95">
                  <c:v>145088</c:v>
                </c:pt>
                <c:pt idx="96">
                  <c:v>147039</c:v>
                </c:pt>
                <c:pt idx="97">
                  <c:v>148801</c:v>
                </c:pt>
                <c:pt idx="98">
                  <c:v>149694</c:v>
                </c:pt>
                <c:pt idx="99">
                  <c:v>155338</c:v>
                </c:pt>
                <c:pt idx="100">
                  <c:v>161460</c:v>
                </c:pt>
                <c:pt idx="101">
                  <c:v>167607</c:v>
                </c:pt>
                <c:pt idx="102">
                  <c:v>175454</c:v>
                </c:pt>
                <c:pt idx="103">
                  <c:v>179553</c:v>
                </c:pt>
                <c:pt idx="104">
                  <c:v>182032</c:v>
                </c:pt>
                <c:pt idx="105">
                  <c:v>188194</c:v>
                </c:pt>
                <c:pt idx="106">
                  <c:v>19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9-41FB-ABC8-408C7891462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Pracovníci a klienti v sociálních službách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7:$DE$7</c:f>
              <c:numCache>
                <c:formatCode>General</c:formatCode>
                <c:ptCount val="107"/>
                <c:pt idx="0">
                  <c:v>86</c:v>
                </c:pt>
                <c:pt idx="1">
                  <c:v>396</c:v>
                </c:pt>
                <c:pt idx="2">
                  <c:v>685</c:v>
                </c:pt>
                <c:pt idx="3">
                  <c:v>880</c:v>
                </c:pt>
                <c:pt idx="4">
                  <c:v>884</c:v>
                </c:pt>
                <c:pt idx="5">
                  <c:v>884</c:v>
                </c:pt>
                <c:pt idx="6">
                  <c:v>886</c:v>
                </c:pt>
                <c:pt idx="7">
                  <c:v>889</c:v>
                </c:pt>
                <c:pt idx="8">
                  <c:v>901</c:v>
                </c:pt>
                <c:pt idx="9">
                  <c:v>956</c:v>
                </c:pt>
                <c:pt idx="10">
                  <c:v>1570</c:v>
                </c:pt>
                <c:pt idx="11">
                  <c:v>3158</c:v>
                </c:pt>
                <c:pt idx="12">
                  <c:v>3461</c:v>
                </c:pt>
                <c:pt idx="13">
                  <c:v>3539</c:v>
                </c:pt>
                <c:pt idx="14">
                  <c:v>4457</c:v>
                </c:pt>
                <c:pt idx="15">
                  <c:v>6399</c:v>
                </c:pt>
                <c:pt idx="16">
                  <c:v>9266</c:v>
                </c:pt>
                <c:pt idx="17">
                  <c:v>13288</c:v>
                </c:pt>
                <c:pt idx="18">
                  <c:v>17133</c:v>
                </c:pt>
                <c:pt idx="19">
                  <c:v>17749</c:v>
                </c:pt>
                <c:pt idx="20">
                  <c:v>17990</c:v>
                </c:pt>
                <c:pt idx="21">
                  <c:v>20654</c:v>
                </c:pt>
                <c:pt idx="22">
                  <c:v>24174</c:v>
                </c:pt>
                <c:pt idx="23">
                  <c:v>28099</c:v>
                </c:pt>
                <c:pt idx="24">
                  <c:v>31871</c:v>
                </c:pt>
                <c:pt idx="25">
                  <c:v>34954</c:v>
                </c:pt>
                <c:pt idx="26">
                  <c:v>35556</c:v>
                </c:pt>
                <c:pt idx="27">
                  <c:v>35682</c:v>
                </c:pt>
                <c:pt idx="28">
                  <c:v>37604</c:v>
                </c:pt>
                <c:pt idx="29">
                  <c:v>40259</c:v>
                </c:pt>
                <c:pt idx="30">
                  <c:v>42632</c:v>
                </c:pt>
                <c:pt idx="31">
                  <c:v>44428</c:v>
                </c:pt>
                <c:pt idx="32">
                  <c:v>46272</c:v>
                </c:pt>
                <c:pt idx="33">
                  <c:v>46450</c:v>
                </c:pt>
                <c:pt idx="34">
                  <c:v>46513</c:v>
                </c:pt>
                <c:pt idx="35">
                  <c:v>47801</c:v>
                </c:pt>
                <c:pt idx="36">
                  <c:v>49468</c:v>
                </c:pt>
                <c:pt idx="37">
                  <c:v>51660</c:v>
                </c:pt>
                <c:pt idx="38">
                  <c:v>55015</c:v>
                </c:pt>
                <c:pt idx="39">
                  <c:v>57988</c:v>
                </c:pt>
                <c:pt idx="40">
                  <c:v>58030</c:v>
                </c:pt>
                <c:pt idx="41">
                  <c:v>58206</c:v>
                </c:pt>
                <c:pt idx="42">
                  <c:v>60936</c:v>
                </c:pt>
                <c:pt idx="43">
                  <c:v>64707</c:v>
                </c:pt>
                <c:pt idx="44">
                  <c:v>69516</c:v>
                </c:pt>
                <c:pt idx="45">
                  <c:v>74952</c:v>
                </c:pt>
                <c:pt idx="46">
                  <c:v>79972</c:v>
                </c:pt>
                <c:pt idx="47">
                  <c:v>80682</c:v>
                </c:pt>
                <c:pt idx="48">
                  <c:v>80815</c:v>
                </c:pt>
                <c:pt idx="49">
                  <c:v>83129</c:v>
                </c:pt>
                <c:pt idx="50">
                  <c:v>87319</c:v>
                </c:pt>
                <c:pt idx="51">
                  <c:v>91921</c:v>
                </c:pt>
                <c:pt idx="52">
                  <c:v>96489</c:v>
                </c:pt>
                <c:pt idx="53">
                  <c:v>100135</c:v>
                </c:pt>
                <c:pt idx="54">
                  <c:v>100297</c:v>
                </c:pt>
                <c:pt idx="55">
                  <c:v>100300</c:v>
                </c:pt>
                <c:pt idx="56">
                  <c:v>102797</c:v>
                </c:pt>
                <c:pt idx="57">
                  <c:v>105746</c:v>
                </c:pt>
                <c:pt idx="58">
                  <c:v>109048</c:v>
                </c:pt>
                <c:pt idx="59">
                  <c:v>113290</c:v>
                </c:pt>
                <c:pt idx="60">
                  <c:v>116760</c:v>
                </c:pt>
                <c:pt idx="61">
                  <c:v>116929</c:v>
                </c:pt>
                <c:pt idx="62">
                  <c:v>117031</c:v>
                </c:pt>
                <c:pt idx="63">
                  <c:v>118715</c:v>
                </c:pt>
                <c:pt idx="64">
                  <c:v>120782</c:v>
                </c:pt>
                <c:pt idx="65">
                  <c:v>123915</c:v>
                </c:pt>
                <c:pt idx="66">
                  <c:v>126772</c:v>
                </c:pt>
                <c:pt idx="67">
                  <c:v>129781</c:v>
                </c:pt>
                <c:pt idx="68">
                  <c:v>130201</c:v>
                </c:pt>
                <c:pt idx="69">
                  <c:v>130501</c:v>
                </c:pt>
                <c:pt idx="70">
                  <c:v>131684</c:v>
                </c:pt>
                <c:pt idx="71">
                  <c:v>134147</c:v>
                </c:pt>
                <c:pt idx="72">
                  <c:v>137450</c:v>
                </c:pt>
                <c:pt idx="73">
                  <c:v>141217</c:v>
                </c:pt>
                <c:pt idx="74">
                  <c:v>144349</c:v>
                </c:pt>
                <c:pt idx="75">
                  <c:v>144763</c:v>
                </c:pt>
                <c:pt idx="76">
                  <c:v>144873</c:v>
                </c:pt>
                <c:pt idx="77">
                  <c:v>147188</c:v>
                </c:pt>
                <c:pt idx="78">
                  <c:v>150227</c:v>
                </c:pt>
                <c:pt idx="79">
                  <c:v>152712</c:v>
                </c:pt>
                <c:pt idx="80">
                  <c:v>155381</c:v>
                </c:pt>
                <c:pt idx="81">
                  <c:v>158265</c:v>
                </c:pt>
                <c:pt idx="82">
                  <c:v>158321</c:v>
                </c:pt>
                <c:pt idx="83">
                  <c:v>158337</c:v>
                </c:pt>
                <c:pt idx="84">
                  <c:v>159385</c:v>
                </c:pt>
                <c:pt idx="85">
                  <c:v>160970</c:v>
                </c:pt>
                <c:pt idx="86">
                  <c:v>163215</c:v>
                </c:pt>
                <c:pt idx="87">
                  <c:v>165419</c:v>
                </c:pt>
                <c:pt idx="88">
                  <c:v>168008</c:v>
                </c:pt>
                <c:pt idx="89">
                  <c:v>168160</c:v>
                </c:pt>
                <c:pt idx="90">
                  <c:v>168320</c:v>
                </c:pt>
                <c:pt idx="91">
                  <c:v>169284</c:v>
                </c:pt>
                <c:pt idx="92">
                  <c:v>170713</c:v>
                </c:pt>
                <c:pt idx="93">
                  <c:v>172923</c:v>
                </c:pt>
                <c:pt idx="94">
                  <c:v>175239</c:v>
                </c:pt>
                <c:pt idx="95">
                  <c:v>175506</c:v>
                </c:pt>
                <c:pt idx="96">
                  <c:v>175657</c:v>
                </c:pt>
                <c:pt idx="97">
                  <c:v>175701</c:v>
                </c:pt>
                <c:pt idx="98">
                  <c:v>175731</c:v>
                </c:pt>
                <c:pt idx="99">
                  <c:v>177447</c:v>
                </c:pt>
                <c:pt idx="100">
                  <c:v>179050</c:v>
                </c:pt>
                <c:pt idx="101">
                  <c:v>181553</c:v>
                </c:pt>
                <c:pt idx="102">
                  <c:v>183161</c:v>
                </c:pt>
                <c:pt idx="103">
                  <c:v>183264</c:v>
                </c:pt>
                <c:pt idx="104">
                  <c:v>183375</c:v>
                </c:pt>
                <c:pt idx="105">
                  <c:v>184160</c:v>
                </c:pt>
                <c:pt idx="106">
                  <c:v>185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BA-4B78-8658-BD29E9C67F23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Chronicky nemocní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List1!$C$1:$DE$1</c:f>
              <c:strCache>
                <c:ptCount val="107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</c:strCache>
            </c:strRef>
          </c:cat>
          <c:val>
            <c:numRef>
              <c:f>List1!$C$8:$DE$8</c:f>
              <c:numCache>
                <c:formatCode>General</c:formatCode>
                <c:ptCount val="10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1</c:v>
                </c:pt>
                <c:pt idx="41">
                  <c:v>11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5</c:v>
                </c:pt>
                <c:pt idx="47">
                  <c:v>15</c:v>
                </c:pt>
                <c:pt idx="48">
                  <c:v>17</c:v>
                </c:pt>
                <c:pt idx="49">
                  <c:v>19</c:v>
                </c:pt>
                <c:pt idx="50">
                  <c:v>22</c:v>
                </c:pt>
                <c:pt idx="51">
                  <c:v>23</c:v>
                </c:pt>
                <c:pt idx="52">
                  <c:v>30</c:v>
                </c:pt>
                <c:pt idx="53">
                  <c:v>40</c:v>
                </c:pt>
                <c:pt idx="54">
                  <c:v>42</c:v>
                </c:pt>
                <c:pt idx="55">
                  <c:v>42</c:v>
                </c:pt>
                <c:pt idx="56">
                  <c:v>46</c:v>
                </c:pt>
                <c:pt idx="57">
                  <c:v>49</c:v>
                </c:pt>
                <c:pt idx="58">
                  <c:v>56</c:v>
                </c:pt>
                <c:pt idx="59">
                  <c:v>70</c:v>
                </c:pt>
                <c:pt idx="60">
                  <c:v>91</c:v>
                </c:pt>
                <c:pt idx="61">
                  <c:v>97</c:v>
                </c:pt>
                <c:pt idx="62">
                  <c:v>97</c:v>
                </c:pt>
                <c:pt idx="63">
                  <c:v>126</c:v>
                </c:pt>
                <c:pt idx="64">
                  <c:v>165</c:v>
                </c:pt>
                <c:pt idx="65">
                  <c:v>353</c:v>
                </c:pt>
                <c:pt idx="66">
                  <c:v>704</c:v>
                </c:pt>
                <c:pt idx="67">
                  <c:v>1060</c:v>
                </c:pt>
                <c:pt idx="68">
                  <c:v>1503</c:v>
                </c:pt>
                <c:pt idx="69">
                  <c:v>2080</c:v>
                </c:pt>
                <c:pt idx="70">
                  <c:v>2489</c:v>
                </c:pt>
                <c:pt idx="71">
                  <c:v>3148</c:v>
                </c:pt>
                <c:pt idx="72">
                  <c:v>3953</c:v>
                </c:pt>
                <c:pt idx="73">
                  <c:v>5017</c:v>
                </c:pt>
                <c:pt idx="74">
                  <c:v>6293</c:v>
                </c:pt>
                <c:pt idx="75">
                  <c:v>6671</c:v>
                </c:pt>
                <c:pt idx="76">
                  <c:v>6801</c:v>
                </c:pt>
                <c:pt idx="77">
                  <c:v>7879</c:v>
                </c:pt>
                <c:pt idx="78">
                  <c:v>9311</c:v>
                </c:pt>
                <c:pt idx="79">
                  <c:v>10814</c:v>
                </c:pt>
                <c:pt idx="80">
                  <c:v>12517</c:v>
                </c:pt>
                <c:pt idx="81">
                  <c:v>14429</c:v>
                </c:pt>
                <c:pt idx="82">
                  <c:v>14906</c:v>
                </c:pt>
                <c:pt idx="83">
                  <c:v>14998</c:v>
                </c:pt>
                <c:pt idx="84">
                  <c:v>16571</c:v>
                </c:pt>
                <c:pt idx="85">
                  <c:v>18380</c:v>
                </c:pt>
                <c:pt idx="86">
                  <c:v>20505</c:v>
                </c:pt>
                <c:pt idx="87">
                  <c:v>22691</c:v>
                </c:pt>
                <c:pt idx="88">
                  <c:v>25036</c:v>
                </c:pt>
                <c:pt idx="89">
                  <c:v>25423</c:v>
                </c:pt>
                <c:pt idx="90">
                  <c:v>25585</c:v>
                </c:pt>
                <c:pt idx="91">
                  <c:v>27914</c:v>
                </c:pt>
                <c:pt idx="92">
                  <c:v>30669</c:v>
                </c:pt>
                <c:pt idx="93">
                  <c:v>33571</c:v>
                </c:pt>
                <c:pt idx="94">
                  <c:v>36916</c:v>
                </c:pt>
                <c:pt idx="95">
                  <c:v>37774</c:v>
                </c:pt>
                <c:pt idx="96">
                  <c:v>38176</c:v>
                </c:pt>
                <c:pt idx="97">
                  <c:v>38364</c:v>
                </c:pt>
                <c:pt idx="98">
                  <c:v>38578</c:v>
                </c:pt>
                <c:pt idx="99">
                  <c:v>40578</c:v>
                </c:pt>
                <c:pt idx="100">
                  <c:v>43617</c:v>
                </c:pt>
                <c:pt idx="101">
                  <c:v>48274</c:v>
                </c:pt>
                <c:pt idx="102">
                  <c:v>53462</c:v>
                </c:pt>
                <c:pt idx="103">
                  <c:v>55335</c:v>
                </c:pt>
                <c:pt idx="104">
                  <c:v>56393</c:v>
                </c:pt>
                <c:pt idx="105">
                  <c:v>62753</c:v>
                </c:pt>
                <c:pt idx="106">
                  <c:v>67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31-4689-8D01-AE220FE5D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2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5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640143913712241"/>
          <c:y val="5.9060112031772409E-2"/>
          <c:w val="0.25672167579882066"/>
          <c:h val="0.751058149456467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17553847713110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4.2679751582317191E-4"/>
                  <c:y val="-4.66255664134384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7.12.20</c:v>
                </c:pt>
                <c:pt idx="1">
                  <c:v>08.12.20</c:v>
                </c:pt>
                <c:pt idx="2">
                  <c:v>09.12.20</c:v>
                </c:pt>
                <c:pt idx="3">
                  <c:v>10.12.20</c:v>
                </c:pt>
                <c:pt idx="4">
                  <c:v>11.12.20</c:v>
                </c:pt>
                <c:pt idx="5">
                  <c:v>12.12.20</c:v>
                </c:pt>
                <c:pt idx="6">
                  <c:v>13.12.20</c:v>
                </c:pt>
                <c:pt idx="7">
                  <c:v>14.12.20</c:v>
                </c:pt>
                <c:pt idx="8">
                  <c:v>15.12.20</c:v>
                </c:pt>
                <c:pt idx="9">
                  <c:v>16.12.20</c:v>
                </c:pt>
                <c:pt idx="10">
                  <c:v>17.12.20</c:v>
                </c:pt>
                <c:pt idx="11">
                  <c:v>18.12.20</c:v>
                </c:pt>
                <c:pt idx="12">
                  <c:v>19.12.20</c:v>
                </c:pt>
                <c:pt idx="13">
                  <c:v>20.12.20</c:v>
                </c:pt>
                <c:pt idx="14">
                  <c:v>21.12.20</c:v>
                </c:pt>
                <c:pt idx="15">
                  <c:v>22.12.20</c:v>
                </c:pt>
                <c:pt idx="16">
                  <c:v>23.12.20</c:v>
                </c:pt>
                <c:pt idx="17">
                  <c:v>24.12.20</c:v>
                </c:pt>
                <c:pt idx="18">
                  <c:v>25.12.20</c:v>
                </c:pt>
                <c:pt idx="19">
                  <c:v>26.12.20</c:v>
                </c:pt>
                <c:pt idx="20">
                  <c:v>27.12.20</c:v>
                </c:pt>
                <c:pt idx="21">
                  <c:v>28.12.20</c:v>
                </c:pt>
                <c:pt idx="22">
                  <c:v>29.12.20</c:v>
                </c:pt>
                <c:pt idx="23">
                  <c:v>30.12.20</c:v>
                </c:pt>
                <c:pt idx="24">
                  <c:v>31.12.20</c:v>
                </c:pt>
                <c:pt idx="25">
                  <c:v>01.01.21</c:v>
                </c:pt>
                <c:pt idx="26">
                  <c:v>02.01.21</c:v>
                </c:pt>
                <c:pt idx="27">
                  <c:v>03.01.21</c:v>
                </c:pt>
                <c:pt idx="28">
                  <c:v>04.01.21</c:v>
                </c:pt>
                <c:pt idx="29">
                  <c:v>05.01.21</c:v>
                </c:pt>
                <c:pt idx="30">
                  <c:v>06.01.21</c:v>
                </c:pt>
                <c:pt idx="31">
                  <c:v>07.01.21</c:v>
                </c:pt>
                <c:pt idx="32">
                  <c:v>08.01.21</c:v>
                </c:pt>
                <c:pt idx="33">
                  <c:v>09.01.21</c:v>
                </c:pt>
                <c:pt idx="34">
                  <c:v>10.01.21</c:v>
                </c:pt>
                <c:pt idx="35">
                  <c:v>11.01.21</c:v>
                </c:pt>
                <c:pt idx="36">
                  <c:v>12.01.21</c:v>
                </c:pt>
                <c:pt idx="37">
                  <c:v>13.01.21</c:v>
                </c:pt>
                <c:pt idx="38">
                  <c:v>14.01.21</c:v>
                </c:pt>
                <c:pt idx="39">
                  <c:v>15.01.21</c:v>
                </c:pt>
                <c:pt idx="40">
                  <c:v>16.01.21</c:v>
                </c:pt>
                <c:pt idx="41">
                  <c:v>17.01.21</c:v>
                </c:pt>
                <c:pt idx="42">
                  <c:v>18.01.21</c:v>
                </c:pt>
                <c:pt idx="43">
                  <c:v>19.01.21</c:v>
                </c:pt>
                <c:pt idx="44">
                  <c:v>20.01.21</c:v>
                </c:pt>
                <c:pt idx="45">
                  <c:v>21.01.21</c:v>
                </c:pt>
                <c:pt idx="46">
                  <c:v>22.01.21</c:v>
                </c:pt>
                <c:pt idx="47">
                  <c:v>23.01.21</c:v>
                </c:pt>
                <c:pt idx="48">
                  <c:v>24.01.21</c:v>
                </c:pt>
                <c:pt idx="49">
                  <c:v>25.01.21</c:v>
                </c:pt>
                <c:pt idx="50">
                  <c:v>26.01.21</c:v>
                </c:pt>
                <c:pt idx="51">
                  <c:v>27.01.21</c:v>
                </c:pt>
                <c:pt idx="52">
                  <c:v>28.01.21</c:v>
                </c:pt>
                <c:pt idx="53">
                  <c:v>29.01.21</c:v>
                </c:pt>
                <c:pt idx="54">
                  <c:v>30.01.21</c:v>
                </c:pt>
                <c:pt idx="55">
                  <c:v>31.01.21</c:v>
                </c:pt>
                <c:pt idx="56">
                  <c:v>01.02.21</c:v>
                </c:pt>
                <c:pt idx="57">
                  <c:v>02.02.21</c:v>
                </c:pt>
                <c:pt idx="58">
                  <c:v>03.02.21</c:v>
                </c:pt>
                <c:pt idx="59">
                  <c:v>04.02.21</c:v>
                </c:pt>
                <c:pt idx="60">
                  <c:v>05.02.21</c:v>
                </c:pt>
                <c:pt idx="61">
                  <c:v>06.02.21</c:v>
                </c:pt>
                <c:pt idx="62">
                  <c:v>07.02.21</c:v>
                </c:pt>
                <c:pt idx="63">
                  <c:v>08.02.21</c:v>
                </c:pt>
                <c:pt idx="64">
                  <c:v>09.02.21</c:v>
                </c:pt>
                <c:pt idx="65">
                  <c:v>10.02.21</c:v>
                </c:pt>
                <c:pt idx="66">
                  <c:v>11.02.21</c:v>
                </c:pt>
                <c:pt idx="67">
                  <c:v>12.02.21</c:v>
                </c:pt>
                <c:pt idx="68">
                  <c:v>13.02.21</c:v>
                </c:pt>
                <c:pt idx="69">
                  <c:v>14.02.21</c:v>
                </c:pt>
                <c:pt idx="70">
                  <c:v>15.02.21</c:v>
                </c:pt>
                <c:pt idx="71">
                  <c:v>16.02.21</c:v>
                </c:pt>
                <c:pt idx="72">
                  <c:v>17.02.21</c:v>
                </c:pt>
                <c:pt idx="73">
                  <c:v>18.02.21</c:v>
                </c:pt>
                <c:pt idx="74">
                  <c:v>19.02.21</c:v>
                </c:pt>
                <c:pt idx="75">
                  <c:v>20.02.21</c:v>
                </c:pt>
                <c:pt idx="76">
                  <c:v>21.02.21</c:v>
                </c:pt>
                <c:pt idx="77">
                  <c:v>22.02.21</c:v>
                </c:pt>
                <c:pt idx="78">
                  <c:v>23.02.21</c:v>
                </c:pt>
                <c:pt idx="79">
                  <c:v>24.02.21</c:v>
                </c:pt>
                <c:pt idx="80">
                  <c:v>25.02.21</c:v>
                </c:pt>
                <c:pt idx="81">
                  <c:v>26.02.21</c:v>
                </c:pt>
                <c:pt idx="82">
                  <c:v>27.02.21</c:v>
                </c:pt>
                <c:pt idx="83">
                  <c:v>28.02.21</c:v>
                </c:pt>
                <c:pt idx="84">
                  <c:v>01.03.21</c:v>
                </c:pt>
                <c:pt idx="85">
                  <c:v>02.03.21</c:v>
                </c:pt>
                <c:pt idx="86">
                  <c:v>03.03.21</c:v>
                </c:pt>
                <c:pt idx="87">
                  <c:v>04.03.21</c:v>
                </c:pt>
                <c:pt idx="88">
                  <c:v>05.03.21</c:v>
                </c:pt>
                <c:pt idx="89">
                  <c:v>06.03.21</c:v>
                </c:pt>
                <c:pt idx="90">
                  <c:v>07.03.21</c:v>
                </c:pt>
                <c:pt idx="91">
                  <c:v>08.03.21</c:v>
                </c:pt>
                <c:pt idx="92">
                  <c:v>09.03.21</c:v>
                </c:pt>
                <c:pt idx="93">
                  <c:v>10.03.21</c:v>
                </c:pt>
                <c:pt idx="94">
                  <c:v>11.03.21</c:v>
                </c:pt>
                <c:pt idx="95">
                  <c:v>12.03.21</c:v>
                </c:pt>
                <c:pt idx="96">
                  <c:v>13.03.21</c:v>
                </c:pt>
                <c:pt idx="97">
                  <c:v>14.03.21</c:v>
                </c:pt>
                <c:pt idx="98">
                  <c:v>15.03.21</c:v>
                </c:pt>
                <c:pt idx="99">
                  <c:v>16.03.21</c:v>
                </c:pt>
                <c:pt idx="100">
                  <c:v>17.03.21</c:v>
                </c:pt>
                <c:pt idx="101">
                  <c:v>18.03.21</c:v>
                </c:pt>
                <c:pt idx="102">
                  <c:v>19.03.21</c:v>
                </c:pt>
                <c:pt idx="103">
                  <c:v>20.03.21</c:v>
                </c:pt>
                <c:pt idx="104">
                  <c:v>21.03.21</c:v>
                </c:pt>
                <c:pt idx="105">
                  <c:v>22.03.21</c:v>
                </c:pt>
                <c:pt idx="106">
                  <c:v>23.03.21</c:v>
                </c:pt>
                <c:pt idx="107">
                  <c:v>24.03.21</c:v>
                </c:pt>
                <c:pt idx="108">
                  <c:v>25.03.21</c:v>
                </c:pt>
                <c:pt idx="109">
                  <c:v>26.03.21</c:v>
                </c:pt>
                <c:pt idx="110">
                  <c:v>27.03.21</c:v>
                </c:pt>
                <c:pt idx="111">
                  <c:v>28.03.21</c:v>
                </c:pt>
                <c:pt idx="112">
                  <c:v>29.03.21</c:v>
                </c:pt>
                <c:pt idx="113">
                  <c:v>30.03.21</c:v>
                </c:pt>
                <c:pt idx="114">
                  <c:v>31.03.21</c:v>
                </c:pt>
                <c:pt idx="115">
                  <c:v>01.04.21</c:v>
                </c:pt>
                <c:pt idx="116">
                  <c:v>02.04.21</c:v>
                </c:pt>
                <c:pt idx="117">
                  <c:v>03.04.21</c:v>
                </c:pt>
                <c:pt idx="118">
                  <c:v>04.04.21</c:v>
                </c:pt>
                <c:pt idx="119">
                  <c:v>05.04.21</c:v>
                </c:pt>
                <c:pt idx="120">
                  <c:v>06.04.21</c:v>
                </c:pt>
                <c:pt idx="121">
                  <c:v>07.04.21</c:v>
                </c:pt>
                <c:pt idx="122">
                  <c:v>08.04.21</c:v>
                </c:pt>
                <c:pt idx="123">
                  <c:v>09.04.21</c:v>
                </c:pt>
                <c:pt idx="124">
                  <c:v>10.04.21</c:v>
                </c:pt>
                <c:pt idx="125">
                  <c:v>11.04.21</c:v>
                </c:pt>
                <c:pt idx="126">
                  <c:v>12.04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81</c:v>
                </c:pt>
                <c:pt idx="1">
                  <c:v>81</c:v>
                </c:pt>
                <c:pt idx="2">
                  <c:v>74</c:v>
                </c:pt>
                <c:pt idx="3">
                  <c:v>76</c:v>
                </c:pt>
                <c:pt idx="4">
                  <c:v>73</c:v>
                </c:pt>
                <c:pt idx="5">
                  <c:v>43</c:v>
                </c:pt>
                <c:pt idx="6">
                  <c:v>25</c:v>
                </c:pt>
                <c:pt idx="7">
                  <c:v>84</c:v>
                </c:pt>
                <c:pt idx="8">
                  <c:v>111</c:v>
                </c:pt>
                <c:pt idx="9">
                  <c:v>73</c:v>
                </c:pt>
                <c:pt idx="10">
                  <c:v>94</c:v>
                </c:pt>
                <c:pt idx="11">
                  <c:v>105</c:v>
                </c:pt>
                <c:pt idx="12">
                  <c:v>45</c:v>
                </c:pt>
                <c:pt idx="13">
                  <c:v>53</c:v>
                </c:pt>
                <c:pt idx="14">
                  <c:v>141</c:v>
                </c:pt>
                <c:pt idx="15">
                  <c:v>126</c:v>
                </c:pt>
                <c:pt idx="16">
                  <c:v>185</c:v>
                </c:pt>
                <c:pt idx="17">
                  <c:v>58</c:v>
                </c:pt>
                <c:pt idx="18">
                  <c:v>44</c:v>
                </c:pt>
                <c:pt idx="19">
                  <c:v>47</c:v>
                </c:pt>
                <c:pt idx="20">
                  <c:v>72</c:v>
                </c:pt>
                <c:pt idx="21">
                  <c:v>162</c:v>
                </c:pt>
                <c:pt idx="22">
                  <c:v>121</c:v>
                </c:pt>
                <c:pt idx="23">
                  <c:v>110</c:v>
                </c:pt>
                <c:pt idx="24">
                  <c:v>111</c:v>
                </c:pt>
                <c:pt idx="25">
                  <c:v>44</c:v>
                </c:pt>
                <c:pt idx="26">
                  <c:v>49</c:v>
                </c:pt>
                <c:pt idx="27">
                  <c:v>74</c:v>
                </c:pt>
                <c:pt idx="28">
                  <c:v>164</c:v>
                </c:pt>
                <c:pt idx="29">
                  <c:v>128</c:v>
                </c:pt>
                <c:pt idx="30">
                  <c:v>97</c:v>
                </c:pt>
                <c:pt idx="31">
                  <c:v>83</c:v>
                </c:pt>
                <c:pt idx="32">
                  <c:v>82</c:v>
                </c:pt>
                <c:pt idx="33">
                  <c:v>49</c:v>
                </c:pt>
                <c:pt idx="34">
                  <c:v>34</c:v>
                </c:pt>
                <c:pt idx="35">
                  <c:v>79</c:v>
                </c:pt>
                <c:pt idx="36">
                  <c:v>73</c:v>
                </c:pt>
                <c:pt idx="37">
                  <c:v>75</c:v>
                </c:pt>
                <c:pt idx="38">
                  <c:v>55</c:v>
                </c:pt>
                <c:pt idx="39">
                  <c:v>70</c:v>
                </c:pt>
                <c:pt idx="40">
                  <c:v>43</c:v>
                </c:pt>
                <c:pt idx="41">
                  <c:v>21</c:v>
                </c:pt>
                <c:pt idx="42">
                  <c:v>79</c:v>
                </c:pt>
                <c:pt idx="43">
                  <c:v>54</c:v>
                </c:pt>
                <c:pt idx="44">
                  <c:v>53</c:v>
                </c:pt>
                <c:pt idx="45">
                  <c:v>49</c:v>
                </c:pt>
                <c:pt idx="46">
                  <c:v>67</c:v>
                </c:pt>
                <c:pt idx="47">
                  <c:v>29</c:v>
                </c:pt>
                <c:pt idx="48">
                  <c:v>9</c:v>
                </c:pt>
                <c:pt idx="49">
                  <c:v>41</c:v>
                </c:pt>
                <c:pt idx="50">
                  <c:v>46</c:v>
                </c:pt>
                <c:pt idx="51">
                  <c:v>42</c:v>
                </c:pt>
                <c:pt idx="52">
                  <c:v>42</c:v>
                </c:pt>
                <c:pt idx="53">
                  <c:v>35</c:v>
                </c:pt>
                <c:pt idx="54">
                  <c:v>19</c:v>
                </c:pt>
                <c:pt idx="55">
                  <c:v>23</c:v>
                </c:pt>
                <c:pt idx="56">
                  <c:v>40</c:v>
                </c:pt>
                <c:pt idx="57">
                  <c:v>33</c:v>
                </c:pt>
                <c:pt idx="58">
                  <c:v>27</c:v>
                </c:pt>
                <c:pt idx="59">
                  <c:v>40</c:v>
                </c:pt>
                <c:pt idx="60">
                  <c:v>26</c:v>
                </c:pt>
                <c:pt idx="61">
                  <c:v>16</c:v>
                </c:pt>
                <c:pt idx="62">
                  <c:v>14</c:v>
                </c:pt>
                <c:pt idx="63">
                  <c:v>19</c:v>
                </c:pt>
                <c:pt idx="64">
                  <c:v>24</c:v>
                </c:pt>
                <c:pt idx="65">
                  <c:v>30</c:v>
                </c:pt>
                <c:pt idx="66">
                  <c:v>25</c:v>
                </c:pt>
                <c:pt idx="67">
                  <c:v>29</c:v>
                </c:pt>
                <c:pt idx="68">
                  <c:v>12</c:v>
                </c:pt>
                <c:pt idx="69">
                  <c:v>7</c:v>
                </c:pt>
                <c:pt idx="70">
                  <c:v>23</c:v>
                </c:pt>
                <c:pt idx="71">
                  <c:v>33</c:v>
                </c:pt>
                <c:pt idx="72">
                  <c:v>13</c:v>
                </c:pt>
                <c:pt idx="73">
                  <c:v>26</c:v>
                </c:pt>
                <c:pt idx="74">
                  <c:v>24</c:v>
                </c:pt>
                <c:pt idx="75">
                  <c:v>15</c:v>
                </c:pt>
                <c:pt idx="76">
                  <c:v>8</c:v>
                </c:pt>
                <c:pt idx="77">
                  <c:v>32</c:v>
                </c:pt>
                <c:pt idx="78">
                  <c:v>29</c:v>
                </c:pt>
                <c:pt idx="79">
                  <c:v>25</c:v>
                </c:pt>
                <c:pt idx="80">
                  <c:v>37</c:v>
                </c:pt>
                <c:pt idx="81">
                  <c:v>34</c:v>
                </c:pt>
                <c:pt idx="82">
                  <c:v>23</c:v>
                </c:pt>
                <c:pt idx="83">
                  <c:v>19</c:v>
                </c:pt>
                <c:pt idx="84">
                  <c:v>29</c:v>
                </c:pt>
                <c:pt idx="85">
                  <c:v>41</c:v>
                </c:pt>
                <c:pt idx="86">
                  <c:v>37</c:v>
                </c:pt>
                <c:pt idx="87">
                  <c:v>20</c:v>
                </c:pt>
                <c:pt idx="88">
                  <c:v>25</c:v>
                </c:pt>
                <c:pt idx="89">
                  <c:v>10</c:v>
                </c:pt>
                <c:pt idx="90">
                  <c:v>10</c:v>
                </c:pt>
                <c:pt idx="91">
                  <c:v>23</c:v>
                </c:pt>
                <c:pt idx="92">
                  <c:v>21</c:v>
                </c:pt>
                <c:pt idx="93">
                  <c:v>21</c:v>
                </c:pt>
                <c:pt idx="94">
                  <c:v>7</c:v>
                </c:pt>
                <c:pt idx="95">
                  <c:v>17</c:v>
                </c:pt>
                <c:pt idx="96">
                  <c:v>11</c:v>
                </c:pt>
                <c:pt idx="97">
                  <c:v>7</c:v>
                </c:pt>
                <c:pt idx="98">
                  <c:v>23</c:v>
                </c:pt>
                <c:pt idx="99">
                  <c:v>29</c:v>
                </c:pt>
                <c:pt idx="100">
                  <c:v>12</c:v>
                </c:pt>
                <c:pt idx="101">
                  <c:v>16</c:v>
                </c:pt>
                <c:pt idx="102">
                  <c:v>11</c:v>
                </c:pt>
                <c:pt idx="103">
                  <c:v>7</c:v>
                </c:pt>
                <c:pt idx="104">
                  <c:v>6</c:v>
                </c:pt>
                <c:pt idx="105">
                  <c:v>9</c:v>
                </c:pt>
                <c:pt idx="106">
                  <c:v>18</c:v>
                </c:pt>
                <c:pt idx="107">
                  <c:v>9</c:v>
                </c:pt>
                <c:pt idx="108">
                  <c:v>10</c:v>
                </c:pt>
                <c:pt idx="109">
                  <c:v>11</c:v>
                </c:pt>
                <c:pt idx="110">
                  <c:v>9</c:v>
                </c:pt>
                <c:pt idx="111">
                  <c:v>0</c:v>
                </c:pt>
                <c:pt idx="112">
                  <c:v>13</c:v>
                </c:pt>
                <c:pt idx="113">
                  <c:v>9</c:v>
                </c:pt>
                <c:pt idx="114">
                  <c:v>7</c:v>
                </c:pt>
                <c:pt idx="115">
                  <c:v>6</c:v>
                </c:pt>
                <c:pt idx="116">
                  <c:v>4</c:v>
                </c:pt>
                <c:pt idx="117">
                  <c:v>5</c:v>
                </c:pt>
                <c:pt idx="118">
                  <c:v>4</c:v>
                </c:pt>
                <c:pt idx="119">
                  <c:v>5</c:v>
                </c:pt>
                <c:pt idx="120">
                  <c:v>10</c:v>
                </c:pt>
                <c:pt idx="121">
                  <c:v>3</c:v>
                </c:pt>
                <c:pt idx="122">
                  <c:v>5</c:v>
                </c:pt>
                <c:pt idx="123">
                  <c:v>4</c:v>
                </c:pt>
                <c:pt idx="124">
                  <c:v>2</c:v>
                </c:pt>
                <c:pt idx="125">
                  <c:v>2</c:v>
                </c:pt>
                <c:pt idx="12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0.10127605364142921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7.12.20</c:v>
                </c:pt>
                <c:pt idx="1">
                  <c:v>08.12.20</c:v>
                </c:pt>
                <c:pt idx="2">
                  <c:v>09.12.20</c:v>
                </c:pt>
                <c:pt idx="3">
                  <c:v>10.12.20</c:v>
                </c:pt>
                <c:pt idx="4">
                  <c:v>11.12.20</c:v>
                </c:pt>
                <c:pt idx="5">
                  <c:v>12.12.20</c:v>
                </c:pt>
                <c:pt idx="6">
                  <c:v>13.12.20</c:v>
                </c:pt>
                <c:pt idx="7">
                  <c:v>14.12.20</c:v>
                </c:pt>
                <c:pt idx="8">
                  <c:v>15.12.20</c:v>
                </c:pt>
                <c:pt idx="9">
                  <c:v>16.12.20</c:v>
                </c:pt>
                <c:pt idx="10">
                  <c:v>17.12.20</c:v>
                </c:pt>
                <c:pt idx="11">
                  <c:v>18.12.20</c:v>
                </c:pt>
                <c:pt idx="12">
                  <c:v>19.12.20</c:v>
                </c:pt>
                <c:pt idx="13">
                  <c:v>20.12.20</c:v>
                </c:pt>
                <c:pt idx="14">
                  <c:v>21.12.20</c:v>
                </c:pt>
                <c:pt idx="15">
                  <c:v>22.12.20</c:v>
                </c:pt>
                <c:pt idx="16">
                  <c:v>23.12.20</c:v>
                </c:pt>
                <c:pt idx="17">
                  <c:v>24.12.20</c:v>
                </c:pt>
                <c:pt idx="18">
                  <c:v>25.12.20</c:v>
                </c:pt>
                <c:pt idx="19">
                  <c:v>26.12.20</c:v>
                </c:pt>
                <c:pt idx="20">
                  <c:v>27.12.20</c:v>
                </c:pt>
                <c:pt idx="21">
                  <c:v>28.12.20</c:v>
                </c:pt>
                <c:pt idx="22">
                  <c:v>29.12.20</c:v>
                </c:pt>
                <c:pt idx="23">
                  <c:v>30.12.20</c:v>
                </c:pt>
                <c:pt idx="24">
                  <c:v>31.12.20</c:v>
                </c:pt>
                <c:pt idx="25">
                  <c:v>01.01.21</c:v>
                </c:pt>
                <c:pt idx="26">
                  <c:v>02.01.21</c:v>
                </c:pt>
                <c:pt idx="27">
                  <c:v>03.01.21</c:v>
                </c:pt>
                <c:pt idx="28">
                  <c:v>04.01.21</c:v>
                </c:pt>
                <c:pt idx="29">
                  <c:v>05.01.21</c:v>
                </c:pt>
                <c:pt idx="30">
                  <c:v>06.01.21</c:v>
                </c:pt>
                <c:pt idx="31">
                  <c:v>07.01.21</c:v>
                </c:pt>
                <c:pt idx="32">
                  <c:v>08.01.21</c:v>
                </c:pt>
                <c:pt idx="33">
                  <c:v>09.01.21</c:v>
                </c:pt>
                <c:pt idx="34">
                  <c:v>10.01.21</c:v>
                </c:pt>
                <c:pt idx="35">
                  <c:v>11.01.21</c:v>
                </c:pt>
                <c:pt idx="36">
                  <c:v>12.01.21</c:v>
                </c:pt>
                <c:pt idx="37">
                  <c:v>13.01.21</c:v>
                </c:pt>
                <c:pt idx="38">
                  <c:v>14.01.21</c:v>
                </c:pt>
                <c:pt idx="39">
                  <c:v>15.01.21</c:v>
                </c:pt>
                <c:pt idx="40">
                  <c:v>16.01.21</c:v>
                </c:pt>
                <c:pt idx="41">
                  <c:v>17.01.21</c:v>
                </c:pt>
                <c:pt idx="42">
                  <c:v>18.01.21</c:v>
                </c:pt>
                <c:pt idx="43">
                  <c:v>19.01.21</c:v>
                </c:pt>
                <c:pt idx="44">
                  <c:v>20.01.21</c:v>
                </c:pt>
                <c:pt idx="45">
                  <c:v>21.01.21</c:v>
                </c:pt>
                <c:pt idx="46">
                  <c:v>22.01.21</c:v>
                </c:pt>
                <c:pt idx="47">
                  <c:v>23.01.21</c:v>
                </c:pt>
                <c:pt idx="48">
                  <c:v>24.01.21</c:v>
                </c:pt>
                <c:pt idx="49">
                  <c:v>25.01.21</c:v>
                </c:pt>
                <c:pt idx="50">
                  <c:v>26.01.21</c:v>
                </c:pt>
                <c:pt idx="51">
                  <c:v>27.01.21</c:v>
                </c:pt>
                <c:pt idx="52">
                  <c:v>28.01.21</c:v>
                </c:pt>
                <c:pt idx="53">
                  <c:v>29.01.21</c:v>
                </c:pt>
                <c:pt idx="54">
                  <c:v>30.01.21</c:v>
                </c:pt>
                <c:pt idx="55">
                  <c:v>31.01.21</c:v>
                </c:pt>
                <c:pt idx="56">
                  <c:v>01.02.21</c:v>
                </c:pt>
                <c:pt idx="57">
                  <c:v>02.02.21</c:v>
                </c:pt>
                <c:pt idx="58">
                  <c:v>03.02.21</c:v>
                </c:pt>
                <c:pt idx="59">
                  <c:v>04.02.21</c:v>
                </c:pt>
                <c:pt idx="60">
                  <c:v>05.02.21</c:v>
                </c:pt>
                <c:pt idx="61">
                  <c:v>06.02.21</c:v>
                </c:pt>
                <c:pt idx="62">
                  <c:v>07.02.21</c:v>
                </c:pt>
                <c:pt idx="63">
                  <c:v>08.02.21</c:v>
                </c:pt>
                <c:pt idx="64">
                  <c:v>09.02.21</c:v>
                </c:pt>
                <c:pt idx="65">
                  <c:v>10.02.21</c:v>
                </c:pt>
                <c:pt idx="66">
                  <c:v>11.02.21</c:v>
                </c:pt>
                <c:pt idx="67">
                  <c:v>12.02.21</c:v>
                </c:pt>
                <c:pt idx="68">
                  <c:v>13.02.21</c:v>
                </c:pt>
                <c:pt idx="69">
                  <c:v>14.02.21</c:v>
                </c:pt>
                <c:pt idx="70">
                  <c:v>15.02.21</c:v>
                </c:pt>
                <c:pt idx="71">
                  <c:v>16.02.21</c:v>
                </c:pt>
                <c:pt idx="72">
                  <c:v>17.02.21</c:v>
                </c:pt>
                <c:pt idx="73">
                  <c:v>18.02.21</c:v>
                </c:pt>
                <c:pt idx="74">
                  <c:v>19.02.21</c:v>
                </c:pt>
                <c:pt idx="75">
                  <c:v>20.02.21</c:v>
                </c:pt>
                <c:pt idx="76">
                  <c:v>21.02.21</c:v>
                </c:pt>
                <c:pt idx="77">
                  <c:v>22.02.21</c:v>
                </c:pt>
                <c:pt idx="78">
                  <c:v>23.02.21</c:v>
                </c:pt>
                <c:pt idx="79">
                  <c:v>24.02.21</c:v>
                </c:pt>
                <c:pt idx="80">
                  <c:v>25.02.21</c:v>
                </c:pt>
                <c:pt idx="81">
                  <c:v>26.02.21</c:v>
                </c:pt>
                <c:pt idx="82">
                  <c:v>27.02.21</c:v>
                </c:pt>
                <c:pt idx="83">
                  <c:v>28.02.21</c:v>
                </c:pt>
                <c:pt idx="84">
                  <c:v>01.03.21</c:v>
                </c:pt>
                <c:pt idx="85">
                  <c:v>02.03.21</c:v>
                </c:pt>
                <c:pt idx="86">
                  <c:v>03.03.21</c:v>
                </c:pt>
                <c:pt idx="87">
                  <c:v>04.03.21</c:v>
                </c:pt>
                <c:pt idx="88">
                  <c:v>05.03.21</c:v>
                </c:pt>
                <c:pt idx="89">
                  <c:v>06.03.21</c:v>
                </c:pt>
                <c:pt idx="90">
                  <c:v>07.03.21</c:v>
                </c:pt>
                <c:pt idx="91">
                  <c:v>08.03.21</c:v>
                </c:pt>
                <c:pt idx="92">
                  <c:v>09.03.21</c:v>
                </c:pt>
                <c:pt idx="93">
                  <c:v>10.03.21</c:v>
                </c:pt>
                <c:pt idx="94">
                  <c:v>11.03.21</c:v>
                </c:pt>
                <c:pt idx="95">
                  <c:v>12.03.21</c:v>
                </c:pt>
                <c:pt idx="96">
                  <c:v>13.03.21</c:v>
                </c:pt>
                <c:pt idx="97">
                  <c:v>14.03.21</c:v>
                </c:pt>
                <c:pt idx="98">
                  <c:v>15.03.21</c:v>
                </c:pt>
                <c:pt idx="99">
                  <c:v>16.03.21</c:v>
                </c:pt>
                <c:pt idx="100">
                  <c:v>17.03.21</c:v>
                </c:pt>
                <c:pt idx="101">
                  <c:v>18.03.21</c:v>
                </c:pt>
                <c:pt idx="102">
                  <c:v>19.03.21</c:v>
                </c:pt>
                <c:pt idx="103">
                  <c:v>20.03.21</c:v>
                </c:pt>
                <c:pt idx="104">
                  <c:v>21.03.21</c:v>
                </c:pt>
                <c:pt idx="105">
                  <c:v>22.03.21</c:v>
                </c:pt>
                <c:pt idx="106">
                  <c:v>23.03.21</c:v>
                </c:pt>
                <c:pt idx="107">
                  <c:v>24.03.21</c:v>
                </c:pt>
                <c:pt idx="108">
                  <c:v>25.03.21</c:v>
                </c:pt>
                <c:pt idx="109">
                  <c:v>26.03.21</c:v>
                </c:pt>
                <c:pt idx="110">
                  <c:v>27.03.21</c:v>
                </c:pt>
                <c:pt idx="111">
                  <c:v>28.03.21</c:v>
                </c:pt>
                <c:pt idx="112">
                  <c:v>29.03.21</c:v>
                </c:pt>
                <c:pt idx="113">
                  <c:v>30.03.21</c:v>
                </c:pt>
                <c:pt idx="114">
                  <c:v>31.03.21</c:v>
                </c:pt>
                <c:pt idx="115">
                  <c:v>01.04.21</c:v>
                </c:pt>
                <c:pt idx="116">
                  <c:v>02.04.21</c:v>
                </c:pt>
                <c:pt idx="117">
                  <c:v>03.04.21</c:v>
                </c:pt>
                <c:pt idx="118">
                  <c:v>04.04.21</c:v>
                </c:pt>
                <c:pt idx="119">
                  <c:v>05.04.21</c:v>
                </c:pt>
                <c:pt idx="120">
                  <c:v>06.04.21</c:v>
                </c:pt>
                <c:pt idx="121">
                  <c:v>07.04.21</c:v>
                </c:pt>
                <c:pt idx="122">
                  <c:v>08.04.21</c:v>
                </c:pt>
                <c:pt idx="123">
                  <c:v>09.04.21</c:v>
                </c:pt>
                <c:pt idx="124">
                  <c:v>10.04.21</c:v>
                </c:pt>
                <c:pt idx="125">
                  <c:v>11.04.21</c:v>
                </c:pt>
                <c:pt idx="126">
                  <c:v>12.04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42</c:v>
                </c:pt>
                <c:pt idx="1">
                  <c:v>212</c:v>
                </c:pt>
                <c:pt idx="2">
                  <c:v>203</c:v>
                </c:pt>
                <c:pt idx="3">
                  <c:v>177</c:v>
                </c:pt>
                <c:pt idx="4">
                  <c:v>196</c:v>
                </c:pt>
                <c:pt idx="5">
                  <c:v>90</c:v>
                </c:pt>
                <c:pt idx="6">
                  <c:v>65</c:v>
                </c:pt>
                <c:pt idx="7">
                  <c:v>227</c:v>
                </c:pt>
                <c:pt idx="8">
                  <c:v>218</c:v>
                </c:pt>
                <c:pt idx="9">
                  <c:v>202</c:v>
                </c:pt>
                <c:pt idx="10">
                  <c:v>165</c:v>
                </c:pt>
                <c:pt idx="11">
                  <c:v>223</c:v>
                </c:pt>
                <c:pt idx="12">
                  <c:v>111</c:v>
                </c:pt>
                <c:pt idx="13">
                  <c:v>104</c:v>
                </c:pt>
                <c:pt idx="14">
                  <c:v>274</c:v>
                </c:pt>
                <c:pt idx="15">
                  <c:v>295</c:v>
                </c:pt>
                <c:pt idx="16">
                  <c:v>293</c:v>
                </c:pt>
                <c:pt idx="17">
                  <c:v>88</c:v>
                </c:pt>
                <c:pt idx="18">
                  <c:v>78</c:v>
                </c:pt>
                <c:pt idx="19">
                  <c:v>115</c:v>
                </c:pt>
                <c:pt idx="20">
                  <c:v>120</c:v>
                </c:pt>
                <c:pt idx="21">
                  <c:v>331</c:v>
                </c:pt>
                <c:pt idx="22">
                  <c:v>390</c:v>
                </c:pt>
                <c:pt idx="23">
                  <c:v>358</c:v>
                </c:pt>
                <c:pt idx="24">
                  <c:v>249</c:v>
                </c:pt>
                <c:pt idx="25">
                  <c:v>80</c:v>
                </c:pt>
                <c:pt idx="26">
                  <c:v>138</c:v>
                </c:pt>
                <c:pt idx="27">
                  <c:v>156</c:v>
                </c:pt>
                <c:pt idx="28">
                  <c:v>379</c:v>
                </c:pt>
                <c:pt idx="29">
                  <c:v>376</c:v>
                </c:pt>
                <c:pt idx="30">
                  <c:v>338</c:v>
                </c:pt>
                <c:pt idx="31">
                  <c:v>272</c:v>
                </c:pt>
                <c:pt idx="32">
                  <c:v>241</c:v>
                </c:pt>
                <c:pt idx="33">
                  <c:v>126</c:v>
                </c:pt>
                <c:pt idx="34">
                  <c:v>74</c:v>
                </c:pt>
                <c:pt idx="35">
                  <c:v>272</c:v>
                </c:pt>
                <c:pt idx="36">
                  <c:v>226</c:v>
                </c:pt>
                <c:pt idx="37">
                  <c:v>191</c:v>
                </c:pt>
                <c:pt idx="38">
                  <c:v>157</c:v>
                </c:pt>
                <c:pt idx="39">
                  <c:v>197</c:v>
                </c:pt>
                <c:pt idx="40">
                  <c:v>88</c:v>
                </c:pt>
                <c:pt idx="41">
                  <c:v>46</c:v>
                </c:pt>
                <c:pt idx="42">
                  <c:v>191</c:v>
                </c:pt>
                <c:pt idx="43">
                  <c:v>208</c:v>
                </c:pt>
                <c:pt idx="44">
                  <c:v>171</c:v>
                </c:pt>
                <c:pt idx="45">
                  <c:v>144</c:v>
                </c:pt>
                <c:pt idx="46">
                  <c:v>136</c:v>
                </c:pt>
                <c:pt idx="47">
                  <c:v>66</c:v>
                </c:pt>
                <c:pt idx="48">
                  <c:v>42</c:v>
                </c:pt>
                <c:pt idx="49">
                  <c:v>152</c:v>
                </c:pt>
                <c:pt idx="50">
                  <c:v>166</c:v>
                </c:pt>
                <c:pt idx="51">
                  <c:v>109</c:v>
                </c:pt>
                <c:pt idx="52">
                  <c:v>124</c:v>
                </c:pt>
                <c:pt idx="53">
                  <c:v>102</c:v>
                </c:pt>
                <c:pt idx="54">
                  <c:v>53</c:v>
                </c:pt>
                <c:pt idx="55">
                  <c:v>30</c:v>
                </c:pt>
                <c:pt idx="56">
                  <c:v>122</c:v>
                </c:pt>
                <c:pt idx="57">
                  <c:v>112</c:v>
                </c:pt>
                <c:pt idx="58">
                  <c:v>124</c:v>
                </c:pt>
                <c:pt idx="59">
                  <c:v>104</c:v>
                </c:pt>
                <c:pt idx="60">
                  <c:v>106</c:v>
                </c:pt>
                <c:pt idx="61">
                  <c:v>55</c:v>
                </c:pt>
                <c:pt idx="62">
                  <c:v>28</c:v>
                </c:pt>
                <c:pt idx="63">
                  <c:v>119</c:v>
                </c:pt>
                <c:pt idx="64">
                  <c:v>110</c:v>
                </c:pt>
                <c:pt idx="65">
                  <c:v>101</c:v>
                </c:pt>
                <c:pt idx="66">
                  <c:v>105</c:v>
                </c:pt>
                <c:pt idx="67">
                  <c:v>98</c:v>
                </c:pt>
                <c:pt idx="68">
                  <c:v>45</c:v>
                </c:pt>
                <c:pt idx="69">
                  <c:v>28</c:v>
                </c:pt>
                <c:pt idx="70">
                  <c:v>117</c:v>
                </c:pt>
                <c:pt idx="71">
                  <c:v>116</c:v>
                </c:pt>
                <c:pt idx="72">
                  <c:v>111</c:v>
                </c:pt>
                <c:pt idx="73">
                  <c:v>109</c:v>
                </c:pt>
                <c:pt idx="74">
                  <c:v>123</c:v>
                </c:pt>
                <c:pt idx="75">
                  <c:v>55</c:v>
                </c:pt>
                <c:pt idx="76">
                  <c:v>35</c:v>
                </c:pt>
                <c:pt idx="77">
                  <c:v>122</c:v>
                </c:pt>
                <c:pt idx="78">
                  <c:v>150</c:v>
                </c:pt>
                <c:pt idx="79">
                  <c:v>130</c:v>
                </c:pt>
                <c:pt idx="80">
                  <c:v>118</c:v>
                </c:pt>
                <c:pt idx="81">
                  <c:v>143</c:v>
                </c:pt>
                <c:pt idx="82">
                  <c:v>76</c:v>
                </c:pt>
                <c:pt idx="83">
                  <c:v>36</c:v>
                </c:pt>
                <c:pt idx="84">
                  <c:v>125</c:v>
                </c:pt>
                <c:pt idx="85">
                  <c:v>135</c:v>
                </c:pt>
                <c:pt idx="86">
                  <c:v>113</c:v>
                </c:pt>
                <c:pt idx="87">
                  <c:v>112</c:v>
                </c:pt>
                <c:pt idx="88">
                  <c:v>116</c:v>
                </c:pt>
                <c:pt idx="89">
                  <c:v>60</c:v>
                </c:pt>
                <c:pt idx="90">
                  <c:v>37</c:v>
                </c:pt>
                <c:pt idx="91">
                  <c:v>103</c:v>
                </c:pt>
                <c:pt idx="92">
                  <c:v>116</c:v>
                </c:pt>
                <c:pt idx="93">
                  <c:v>108</c:v>
                </c:pt>
                <c:pt idx="94">
                  <c:v>87</c:v>
                </c:pt>
                <c:pt idx="95">
                  <c:v>112</c:v>
                </c:pt>
                <c:pt idx="96">
                  <c:v>50</c:v>
                </c:pt>
                <c:pt idx="97">
                  <c:v>30</c:v>
                </c:pt>
                <c:pt idx="98">
                  <c:v>105</c:v>
                </c:pt>
                <c:pt idx="99">
                  <c:v>86</c:v>
                </c:pt>
                <c:pt idx="100">
                  <c:v>88</c:v>
                </c:pt>
                <c:pt idx="101">
                  <c:v>77</c:v>
                </c:pt>
                <c:pt idx="102">
                  <c:v>78</c:v>
                </c:pt>
                <c:pt idx="103">
                  <c:v>30</c:v>
                </c:pt>
                <c:pt idx="104">
                  <c:v>24</c:v>
                </c:pt>
                <c:pt idx="105">
                  <c:v>97</c:v>
                </c:pt>
                <c:pt idx="106">
                  <c:v>64</c:v>
                </c:pt>
                <c:pt idx="107">
                  <c:v>65</c:v>
                </c:pt>
                <c:pt idx="108">
                  <c:v>46</c:v>
                </c:pt>
                <c:pt idx="109">
                  <c:v>51</c:v>
                </c:pt>
                <c:pt idx="110">
                  <c:v>29</c:v>
                </c:pt>
                <c:pt idx="111">
                  <c:v>18</c:v>
                </c:pt>
                <c:pt idx="112">
                  <c:v>56</c:v>
                </c:pt>
                <c:pt idx="113">
                  <c:v>53</c:v>
                </c:pt>
                <c:pt idx="114">
                  <c:v>36</c:v>
                </c:pt>
                <c:pt idx="115">
                  <c:v>45</c:v>
                </c:pt>
                <c:pt idx="116">
                  <c:v>26</c:v>
                </c:pt>
                <c:pt idx="117">
                  <c:v>22</c:v>
                </c:pt>
                <c:pt idx="118">
                  <c:v>22</c:v>
                </c:pt>
                <c:pt idx="119">
                  <c:v>22</c:v>
                </c:pt>
                <c:pt idx="120">
                  <c:v>68</c:v>
                </c:pt>
                <c:pt idx="121">
                  <c:v>48</c:v>
                </c:pt>
                <c:pt idx="122">
                  <c:v>33</c:v>
                </c:pt>
                <c:pt idx="123">
                  <c:v>27</c:v>
                </c:pt>
                <c:pt idx="124">
                  <c:v>15</c:v>
                </c:pt>
                <c:pt idx="125">
                  <c:v>8</c:v>
                </c:pt>
                <c:pt idx="126">
                  <c:v>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6.2810391044661358E-4"/>
                  <c:y val="-5.100690113452494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0.11136865311771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7.12.20</c:v>
                </c:pt>
                <c:pt idx="1">
                  <c:v>08.12.20</c:v>
                </c:pt>
                <c:pt idx="2">
                  <c:v>09.12.20</c:v>
                </c:pt>
                <c:pt idx="3">
                  <c:v>10.12.20</c:v>
                </c:pt>
                <c:pt idx="4">
                  <c:v>11.12.20</c:v>
                </c:pt>
                <c:pt idx="5">
                  <c:v>12.12.20</c:v>
                </c:pt>
                <c:pt idx="6">
                  <c:v>13.12.20</c:v>
                </c:pt>
                <c:pt idx="7">
                  <c:v>14.12.20</c:v>
                </c:pt>
                <c:pt idx="8">
                  <c:v>15.12.20</c:v>
                </c:pt>
                <c:pt idx="9">
                  <c:v>16.12.20</c:v>
                </c:pt>
                <c:pt idx="10">
                  <c:v>17.12.20</c:v>
                </c:pt>
                <c:pt idx="11">
                  <c:v>18.12.20</c:v>
                </c:pt>
                <c:pt idx="12">
                  <c:v>19.12.20</c:v>
                </c:pt>
                <c:pt idx="13">
                  <c:v>20.12.20</c:v>
                </c:pt>
                <c:pt idx="14">
                  <c:v>21.12.20</c:v>
                </c:pt>
                <c:pt idx="15">
                  <c:v>22.12.20</c:v>
                </c:pt>
                <c:pt idx="16">
                  <c:v>23.12.20</c:v>
                </c:pt>
                <c:pt idx="17">
                  <c:v>24.12.20</c:v>
                </c:pt>
                <c:pt idx="18">
                  <c:v>25.12.20</c:v>
                </c:pt>
                <c:pt idx="19">
                  <c:v>26.12.20</c:v>
                </c:pt>
                <c:pt idx="20">
                  <c:v>27.12.20</c:v>
                </c:pt>
                <c:pt idx="21">
                  <c:v>28.12.20</c:v>
                </c:pt>
                <c:pt idx="22">
                  <c:v>29.12.20</c:v>
                </c:pt>
                <c:pt idx="23">
                  <c:v>30.12.20</c:v>
                </c:pt>
                <c:pt idx="24">
                  <c:v>31.12.20</c:v>
                </c:pt>
                <c:pt idx="25">
                  <c:v>01.01.21</c:v>
                </c:pt>
                <c:pt idx="26">
                  <c:v>02.01.21</c:v>
                </c:pt>
                <c:pt idx="27">
                  <c:v>03.01.21</c:v>
                </c:pt>
                <c:pt idx="28">
                  <c:v>04.01.21</c:v>
                </c:pt>
                <c:pt idx="29">
                  <c:v>05.01.21</c:v>
                </c:pt>
                <c:pt idx="30">
                  <c:v>06.01.21</c:v>
                </c:pt>
                <c:pt idx="31">
                  <c:v>07.01.21</c:v>
                </c:pt>
                <c:pt idx="32">
                  <c:v>08.01.21</c:v>
                </c:pt>
                <c:pt idx="33">
                  <c:v>09.01.21</c:v>
                </c:pt>
                <c:pt idx="34">
                  <c:v>10.01.21</c:v>
                </c:pt>
                <c:pt idx="35">
                  <c:v>11.01.21</c:v>
                </c:pt>
                <c:pt idx="36">
                  <c:v>12.01.21</c:v>
                </c:pt>
                <c:pt idx="37">
                  <c:v>13.01.21</c:v>
                </c:pt>
                <c:pt idx="38">
                  <c:v>14.01.21</c:v>
                </c:pt>
                <c:pt idx="39">
                  <c:v>15.01.21</c:v>
                </c:pt>
                <c:pt idx="40">
                  <c:v>16.01.21</c:v>
                </c:pt>
                <c:pt idx="41">
                  <c:v>17.01.21</c:v>
                </c:pt>
                <c:pt idx="42">
                  <c:v>18.01.21</c:v>
                </c:pt>
                <c:pt idx="43">
                  <c:v>19.01.21</c:v>
                </c:pt>
                <c:pt idx="44">
                  <c:v>20.01.21</c:v>
                </c:pt>
                <c:pt idx="45">
                  <c:v>21.01.21</c:v>
                </c:pt>
                <c:pt idx="46">
                  <c:v>22.01.21</c:v>
                </c:pt>
                <c:pt idx="47">
                  <c:v>23.01.21</c:v>
                </c:pt>
                <c:pt idx="48">
                  <c:v>24.01.21</c:v>
                </c:pt>
                <c:pt idx="49">
                  <c:v>25.01.21</c:v>
                </c:pt>
                <c:pt idx="50">
                  <c:v>26.01.21</c:v>
                </c:pt>
                <c:pt idx="51">
                  <c:v>27.01.21</c:v>
                </c:pt>
                <c:pt idx="52">
                  <c:v>28.01.21</c:v>
                </c:pt>
                <c:pt idx="53">
                  <c:v>29.01.21</c:v>
                </c:pt>
                <c:pt idx="54">
                  <c:v>30.01.21</c:v>
                </c:pt>
                <c:pt idx="55">
                  <c:v>31.01.21</c:v>
                </c:pt>
                <c:pt idx="56">
                  <c:v>01.02.21</c:v>
                </c:pt>
                <c:pt idx="57">
                  <c:v>02.02.21</c:v>
                </c:pt>
                <c:pt idx="58">
                  <c:v>03.02.21</c:v>
                </c:pt>
                <c:pt idx="59">
                  <c:v>04.02.21</c:v>
                </c:pt>
                <c:pt idx="60">
                  <c:v>05.02.21</c:v>
                </c:pt>
                <c:pt idx="61">
                  <c:v>06.02.21</c:v>
                </c:pt>
                <c:pt idx="62">
                  <c:v>07.02.21</c:v>
                </c:pt>
                <c:pt idx="63">
                  <c:v>08.02.21</c:v>
                </c:pt>
                <c:pt idx="64">
                  <c:v>09.02.21</c:v>
                </c:pt>
                <c:pt idx="65">
                  <c:v>10.02.21</c:v>
                </c:pt>
                <c:pt idx="66">
                  <c:v>11.02.21</c:v>
                </c:pt>
                <c:pt idx="67">
                  <c:v>12.02.21</c:v>
                </c:pt>
                <c:pt idx="68">
                  <c:v>13.02.21</c:v>
                </c:pt>
                <c:pt idx="69">
                  <c:v>14.02.21</c:v>
                </c:pt>
                <c:pt idx="70">
                  <c:v>15.02.21</c:v>
                </c:pt>
                <c:pt idx="71">
                  <c:v>16.02.21</c:v>
                </c:pt>
                <c:pt idx="72">
                  <c:v>17.02.21</c:v>
                </c:pt>
                <c:pt idx="73">
                  <c:v>18.02.21</c:v>
                </c:pt>
                <c:pt idx="74">
                  <c:v>19.02.21</c:v>
                </c:pt>
                <c:pt idx="75">
                  <c:v>20.02.21</c:v>
                </c:pt>
                <c:pt idx="76">
                  <c:v>21.02.21</c:v>
                </c:pt>
                <c:pt idx="77">
                  <c:v>22.02.21</c:v>
                </c:pt>
                <c:pt idx="78">
                  <c:v>23.02.21</c:v>
                </c:pt>
                <c:pt idx="79">
                  <c:v>24.02.21</c:v>
                </c:pt>
                <c:pt idx="80">
                  <c:v>25.02.21</c:v>
                </c:pt>
                <c:pt idx="81">
                  <c:v>26.02.21</c:v>
                </c:pt>
                <c:pt idx="82">
                  <c:v>27.02.21</c:v>
                </c:pt>
                <c:pt idx="83">
                  <c:v>28.02.21</c:v>
                </c:pt>
                <c:pt idx="84">
                  <c:v>01.03.21</c:v>
                </c:pt>
                <c:pt idx="85">
                  <c:v>02.03.21</c:v>
                </c:pt>
                <c:pt idx="86">
                  <c:v>03.03.21</c:v>
                </c:pt>
                <c:pt idx="87">
                  <c:v>04.03.21</c:v>
                </c:pt>
                <c:pt idx="88">
                  <c:v>05.03.21</c:v>
                </c:pt>
                <c:pt idx="89">
                  <c:v>06.03.21</c:v>
                </c:pt>
                <c:pt idx="90">
                  <c:v>07.03.21</c:v>
                </c:pt>
                <c:pt idx="91">
                  <c:v>08.03.21</c:v>
                </c:pt>
                <c:pt idx="92">
                  <c:v>09.03.21</c:v>
                </c:pt>
                <c:pt idx="93">
                  <c:v>10.03.21</c:v>
                </c:pt>
                <c:pt idx="94">
                  <c:v>11.03.21</c:v>
                </c:pt>
                <c:pt idx="95">
                  <c:v>12.03.21</c:v>
                </c:pt>
                <c:pt idx="96">
                  <c:v>13.03.21</c:v>
                </c:pt>
                <c:pt idx="97">
                  <c:v>14.03.21</c:v>
                </c:pt>
                <c:pt idx="98">
                  <c:v>15.03.21</c:v>
                </c:pt>
                <c:pt idx="99">
                  <c:v>16.03.21</c:v>
                </c:pt>
                <c:pt idx="100">
                  <c:v>17.03.21</c:v>
                </c:pt>
                <c:pt idx="101">
                  <c:v>18.03.21</c:v>
                </c:pt>
                <c:pt idx="102">
                  <c:v>19.03.21</c:v>
                </c:pt>
                <c:pt idx="103">
                  <c:v>20.03.21</c:v>
                </c:pt>
                <c:pt idx="104">
                  <c:v>21.03.21</c:v>
                </c:pt>
                <c:pt idx="105">
                  <c:v>22.03.21</c:v>
                </c:pt>
                <c:pt idx="106">
                  <c:v>23.03.21</c:v>
                </c:pt>
                <c:pt idx="107">
                  <c:v>24.03.21</c:v>
                </c:pt>
                <c:pt idx="108">
                  <c:v>25.03.21</c:v>
                </c:pt>
                <c:pt idx="109">
                  <c:v>26.03.21</c:v>
                </c:pt>
                <c:pt idx="110">
                  <c:v>27.03.21</c:v>
                </c:pt>
                <c:pt idx="111">
                  <c:v>28.03.21</c:v>
                </c:pt>
                <c:pt idx="112">
                  <c:v>29.03.21</c:v>
                </c:pt>
                <c:pt idx="113">
                  <c:v>30.03.21</c:v>
                </c:pt>
                <c:pt idx="114">
                  <c:v>31.03.21</c:v>
                </c:pt>
                <c:pt idx="115">
                  <c:v>01.04.21</c:v>
                </c:pt>
                <c:pt idx="116">
                  <c:v>02.04.21</c:v>
                </c:pt>
                <c:pt idx="117">
                  <c:v>03.04.21</c:v>
                </c:pt>
                <c:pt idx="118">
                  <c:v>04.04.21</c:v>
                </c:pt>
                <c:pt idx="119">
                  <c:v>05.04.21</c:v>
                </c:pt>
                <c:pt idx="120">
                  <c:v>06.04.21</c:v>
                </c:pt>
                <c:pt idx="121">
                  <c:v>07.04.21</c:v>
                </c:pt>
                <c:pt idx="122">
                  <c:v>08.04.21</c:v>
                </c:pt>
                <c:pt idx="123">
                  <c:v>09.04.21</c:v>
                </c:pt>
                <c:pt idx="124">
                  <c:v>10.04.21</c:v>
                </c:pt>
                <c:pt idx="125">
                  <c:v>11.04.21</c:v>
                </c:pt>
                <c:pt idx="126">
                  <c:v>12.04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71</c:v>
                </c:pt>
                <c:pt idx="1">
                  <c:v>159</c:v>
                </c:pt>
                <c:pt idx="2">
                  <c:v>172</c:v>
                </c:pt>
                <c:pt idx="3">
                  <c:v>128</c:v>
                </c:pt>
                <c:pt idx="4">
                  <c:v>176</c:v>
                </c:pt>
                <c:pt idx="5">
                  <c:v>81</c:v>
                </c:pt>
                <c:pt idx="6">
                  <c:v>41</c:v>
                </c:pt>
                <c:pt idx="7">
                  <c:v>170</c:v>
                </c:pt>
                <c:pt idx="8">
                  <c:v>176</c:v>
                </c:pt>
                <c:pt idx="9">
                  <c:v>181</c:v>
                </c:pt>
                <c:pt idx="10">
                  <c:v>160</c:v>
                </c:pt>
                <c:pt idx="11">
                  <c:v>173</c:v>
                </c:pt>
                <c:pt idx="12">
                  <c:v>93</c:v>
                </c:pt>
                <c:pt idx="13">
                  <c:v>67</c:v>
                </c:pt>
                <c:pt idx="14">
                  <c:v>198</c:v>
                </c:pt>
                <c:pt idx="15">
                  <c:v>224</c:v>
                </c:pt>
                <c:pt idx="16">
                  <c:v>271</c:v>
                </c:pt>
                <c:pt idx="17">
                  <c:v>90</c:v>
                </c:pt>
                <c:pt idx="18">
                  <c:v>62</c:v>
                </c:pt>
                <c:pt idx="19">
                  <c:v>72</c:v>
                </c:pt>
                <c:pt idx="20">
                  <c:v>100</c:v>
                </c:pt>
                <c:pt idx="21">
                  <c:v>264</c:v>
                </c:pt>
                <c:pt idx="22">
                  <c:v>334</c:v>
                </c:pt>
                <c:pt idx="23">
                  <c:v>338</c:v>
                </c:pt>
                <c:pt idx="24">
                  <c:v>247</c:v>
                </c:pt>
                <c:pt idx="25">
                  <c:v>58</c:v>
                </c:pt>
                <c:pt idx="26">
                  <c:v>122</c:v>
                </c:pt>
                <c:pt idx="27">
                  <c:v>87</c:v>
                </c:pt>
                <c:pt idx="28">
                  <c:v>311</c:v>
                </c:pt>
                <c:pt idx="29">
                  <c:v>300</c:v>
                </c:pt>
                <c:pt idx="30">
                  <c:v>300</c:v>
                </c:pt>
                <c:pt idx="31">
                  <c:v>267</c:v>
                </c:pt>
                <c:pt idx="32">
                  <c:v>228</c:v>
                </c:pt>
                <c:pt idx="33">
                  <c:v>119</c:v>
                </c:pt>
                <c:pt idx="34">
                  <c:v>67</c:v>
                </c:pt>
                <c:pt idx="35">
                  <c:v>186</c:v>
                </c:pt>
                <c:pt idx="36">
                  <c:v>206</c:v>
                </c:pt>
                <c:pt idx="37">
                  <c:v>224</c:v>
                </c:pt>
                <c:pt idx="38">
                  <c:v>143</c:v>
                </c:pt>
                <c:pt idx="39">
                  <c:v>189</c:v>
                </c:pt>
                <c:pt idx="40">
                  <c:v>81</c:v>
                </c:pt>
                <c:pt idx="41">
                  <c:v>32</c:v>
                </c:pt>
                <c:pt idx="42">
                  <c:v>193</c:v>
                </c:pt>
                <c:pt idx="43">
                  <c:v>193</c:v>
                </c:pt>
                <c:pt idx="44">
                  <c:v>125</c:v>
                </c:pt>
                <c:pt idx="45">
                  <c:v>154</c:v>
                </c:pt>
                <c:pt idx="46">
                  <c:v>151</c:v>
                </c:pt>
                <c:pt idx="47">
                  <c:v>69</c:v>
                </c:pt>
                <c:pt idx="48">
                  <c:v>48</c:v>
                </c:pt>
                <c:pt idx="49">
                  <c:v>139</c:v>
                </c:pt>
                <c:pt idx="50">
                  <c:v>144</c:v>
                </c:pt>
                <c:pt idx="51">
                  <c:v>154</c:v>
                </c:pt>
                <c:pt idx="52">
                  <c:v>130</c:v>
                </c:pt>
                <c:pt idx="53">
                  <c:v>98</c:v>
                </c:pt>
                <c:pt idx="54">
                  <c:v>55</c:v>
                </c:pt>
                <c:pt idx="55">
                  <c:v>44</c:v>
                </c:pt>
                <c:pt idx="56">
                  <c:v>114</c:v>
                </c:pt>
                <c:pt idx="57">
                  <c:v>132</c:v>
                </c:pt>
                <c:pt idx="58">
                  <c:v>142</c:v>
                </c:pt>
                <c:pt idx="59">
                  <c:v>87</c:v>
                </c:pt>
                <c:pt idx="60">
                  <c:v>108</c:v>
                </c:pt>
                <c:pt idx="61">
                  <c:v>48</c:v>
                </c:pt>
                <c:pt idx="62">
                  <c:v>40</c:v>
                </c:pt>
                <c:pt idx="63">
                  <c:v>118</c:v>
                </c:pt>
                <c:pt idx="64">
                  <c:v>142</c:v>
                </c:pt>
                <c:pt idx="65">
                  <c:v>137</c:v>
                </c:pt>
                <c:pt idx="66">
                  <c:v>107</c:v>
                </c:pt>
                <c:pt idx="67">
                  <c:v>109</c:v>
                </c:pt>
                <c:pt idx="68">
                  <c:v>55</c:v>
                </c:pt>
                <c:pt idx="69">
                  <c:v>24</c:v>
                </c:pt>
                <c:pt idx="70">
                  <c:v>124</c:v>
                </c:pt>
                <c:pt idx="71">
                  <c:v>124</c:v>
                </c:pt>
                <c:pt idx="72">
                  <c:v>132</c:v>
                </c:pt>
                <c:pt idx="73">
                  <c:v>127</c:v>
                </c:pt>
                <c:pt idx="74">
                  <c:v>116</c:v>
                </c:pt>
                <c:pt idx="75">
                  <c:v>62</c:v>
                </c:pt>
                <c:pt idx="76">
                  <c:v>28</c:v>
                </c:pt>
                <c:pt idx="77">
                  <c:v>121</c:v>
                </c:pt>
                <c:pt idx="78">
                  <c:v>159</c:v>
                </c:pt>
                <c:pt idx="79">
                  <c:v>141</c:v>
                </c:pt>
                <c:pt idx="80">
                  <c:v>138</c:v>
                </c:pt>
                <c:pt idx="81">
                  <c:v>140</c:v>
                </c:pt>
                <c:pt idx="82">
                  <c:v>76</c:v>
                </c:pt>
                <c:pt idx="83">
                  <c:v>37</c:v>
                </c:pt>
                <c:pt idx="84">
                  <c:v>153</c:v>
                </c:pt>
                <c:pt idx="85">
                  <c:v>170</c:v>
                </c:pt>
                <c:pt idx="86">
                  <c:v>166</c:v>
                </c:pt>
                <c:pt idx="87">
                  <c:v>148</c:v>
                </c:pt>
                <c:pt idx="88">
                  <c:v>137</c:v>
                </c:pt>
                <c:pt idx="89">
                  <c:v>70</c:v>
                </c:pt>
                <c:pt idx="90">
                  <c:v>32</c:v>
                </c:pt>
                <c:pt idx="91">
                  <c:v>114</c:v>
                </c:pt>
                <c:pt idx="92">
                  <c:v>147</c:v>
                </c:pt>
                <c:pt idx="93">
                  <c:v>125</c:v>
                </c:pt>
                <c:pt idx="94">
                  <c:v>109</c:v>
                </c:pt>
                <c:pt idx="95">
                  <c:v>123</c:v>
                </c:pt>
                <c:pt idx="96">
                  <c:v>64</c:v>
                </c:pt>
                <c:pt idx="97">
                  <c:v>32</c:v>
                </c:pt>
                <c:pt idx="98">
                  <c:v>117</c:v>
                </c:pt>
                <c:pt idx="99">
                  <c:v>123</c:v>
                </c:pt>
                <c:pt idx="100">
                  <c:v>97</c:v>
                </c:pt>
                <c:pt idx="101">
                  <c:v>92</c:v>
                </c:pt>
                <c:pt idx="102">
                  <c:v>71</c:v>
                </c:pt>
                <c:pt idx="103">
                  <c:v>28</c:v>
                </c:pt>
                <c:pt idx="104">
                  <c:v>18</c:v>
                </c:pt>
                <c:pt idx="105">
                  <c:v>84</c:v>
                </c:pt>
                <c:pt idx="106">
                  <c:v>84</c:v>
                </c:pt>
                <c:pt idx="107">
                  <c:v>66</c:v>
                </c:pt>
                <c:pt idx="108">
                  <c:v>65</c:v>
                </c:pt>
                <c:pt idx="109">
                  <c:v>56</c:v>
                </c:pt>
                <c:pt idx="110">
                  <c:v>19</c:v>
                </c:pt>
                <c:pt idx="111">
                  <c:v>7</c:v>
                </c:pt>
                <c:pt idx="112">
                  <c:v>69</c:v>
                </c:pt>
                <c:pt idx="113">
                  <c:v>77</c:v>
                </c:pt>
                <c:pt idx="114">
                  <c:v>61</c:v>
                </c:pt>
                <c:pt idx="115">
                  <c:v>33</c:v>
                </c:pt>
                <c:pt idx="116">
                  <c:v>16</c:v>
                </c:pt>
                <c:pt idx="117">
                  <c:v>10</c:v>
                </c:pt>
                <c:pt idx="118">
                  <c:v>15</c:v>
                </c:pt>
                <c:pt idx="119">
                  <c:v>9</c:v>
                </c:pt>
                <c:pt idx="120">
                  <c:v>41</c:v>
                </c:pt>
                <c:pt idx="121">
                  <c:v>40</c:v>
                </c:pt>
                <c:pt idx="122">
                  <c:v>45</c:v>
                </c:pt>
                <c:pt idx="123">
                  <c:v>30</c:v>
                </c:pt>
                <c:pt idx="124">
                  <c:v>14</c:v>
                </c:pt>
                <c:pt idx="125">
                  <c:v>5</c:v>
                </c:pt>
                <c:pt idx="126">
                  <c:v>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Hlavní město Praha</c:v>
                </c:pt>
                <c:pt idx="2">
                  <c:v>Kraj Vysočina</c:v>
                </c:pt>
                <c:pt idx="3">
                  <c:v>Liberec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Středoče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Jihočeský kraj</c:v>
                </c:pt>
                <c:pt idx="10">
                  <c:v>Olomoucký kraj</c:v>
                </c:pt>
                <c:pt idx="11">
                  <c:v>Pardubic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482642777155661</c:v>
                </c:pt>
                <c:pt idx="1">
                  <c:v>81.1544227886057</c:v>
                </c:pt>
                <c:pt idx="2">
                  <c:v>81.114551083591337</c:v>
                </c:pt>
                <c:pt idx="3">
                  <c:v>79.416531604538093</c:v>
                </c:pt>
                <c:pt idx="4">
                  <c:v>78.700537371763559</c:v>
                </c:pt>
                <c:pt idx="5">
                  <c:v>78.652849740932638</c:v>
                </c:pt>
                <c:pt idx="6">
                  <c:v>78.446423088731962</c:v>
                </c:pt>
                <c:pt idx="7">
                  <c:v>78.106435258623378</c:v>
                </c:pt>
                <c:pt idx="8">
                  <c:v>77.816736792893863</c:v>
                </c:pt>
                <c:pt idx="9">
                  <c:v>77.739216658403564</c:v>
                </c:pt>
                <c:pt idx="10">
                  <c:v>77.515067222994901</c:v>
                </c:pt>
                <c:pt idx="11">
                  <c:v>76.387860843819382</c:v>
                </c:pt>
                <c:pt idx="12">
                  <c:v>75.50143266475645</c:v>
                </c:pt>
                <c:pt idx="13">
                  <c:v>74.81629926519706</c:v>
                </c:pt>
                <c:pt idx="14">
                  <c:v>72.646210333071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Hlavní město Praha</c:v>
                </c:pt>
                <c:pt idx="2">
                  <c:v>Ústecký kraj</c:v>
                </c:pt>
                <c:pt idx="3">
                  <c:v>Středočeský kraj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moravský kraj</c:v>
                </c:pt>
                <c:pt idx="7">
                  <c:v>Královéhrade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Liberec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Olomouc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0.924369999999996</c:v>
                </c:pt>
                <c:pt idx="1">
                  <c:v>70.378190000000004</c:v>
                </c:pt>
                <c:pt idx="2">
                  <c:v>70.081779999999995</c:v>
                </c:pt>
                <c:pt idx="3">
                  <c:v>69.180989999999994</c:v>
                </c:pt>
                <c:pt idx="4">
                  <c:v>68.379729999999995</c:v>
                </c:pt>
                <c:pt idx="5">
                  <c:v>66.685649999999995</c:v>
                </c:pt>
                <c:pt idx="6">
                  <c:v>64.841530000000006</c:v>
                </c:pt>
                <c:pt idx="7">
                  <c:v>64.745410000000007</c:v>
                </c:pt>
                <c:pt idx="8">
                  <c:v>64.696359999999999</c:v>
                </c:pt>
                <c:pt idx="9">
                  <c:v>64.678240000000002</c:v>
                </c:pt>
                <c:pt idx="10">
                  <c:v>62.659379999999999</c:v>
                </c:pt>
                <c:pt idx="11">
                  <c:v>59.084350000000001</c:v>
                </c:pt>
                <c:pt idx="12">
                  <c:v>57.43976</c:v>
                </c:pt>
                <c:pt idx="13">
                  <c:v>57.361109999999996</c:v>
                </c:pt>
                <c:pt idx="14">
                  <c:v>56.0470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8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8 Radiologický asistent</c:v>
                </c:pt>
                <c:pt idx="8">
                  <c:v>§ 39 Zubní instrumentářka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0 Zdravotně-sociální pracovník</c:v>
                </c:pt>
                <c:pt idx="17">
                  <c:v>§ 11 Optometrista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4 Ortotik-protetik</c:v>
                </c:pt>
                <c:pt idx="27">
                  <c:v>§ 13 Asistent ochrany a podpory veřejného zdraví</c:v>
                </c:pt>
                <c:pt idx="28">
                  <c:v>§ 20 Biomedicínský technik</c:v>
                </c:pt>
                <c:pt idx="29">
                  <c:v>§ 32 Nutriční asistent</c:v>
                </c:pt>
                <c:pt idx="30">
                  <c:v>§ 25 Radiologický fyzik</c:v>
                </c:pt>
                <c:pt idx="31">
                  <c:v>§ 31 Ortoticko-protetický technik</c:v>
                </c:pt>
                <c:pt idx="32">
                  <c:v>§ 12 Ortoptista</c:v>
                </c:pt>
                <c:pt idx="33">
                  <c:v>§ 21 Radiologický technik</c:v>
                </c:pt>
                <c:pt idx="34">
                  <c:v>§ 41 Autoptický laboran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1990</c:v>
                </c:pt>
                <c:pt idx="1">
                  <c:v>830</c:v>
                </c:pt>
                <c:pt idx="2">
                  <c:v>624</c:v>
                </c:pt>
                <c:pt idx="3">
                  <c:v>555</c:v>
                </c:pt>
                <c:pt idx="4">
                  <c:v>548</c:v>
                </c:pt>
                <c:pt idx="5">
                  <c:v>465</c:v>
                </c:pt>
                <c:pt idx="6">
                  <c:v>316</c:v>
                </c:pt>
                <c:pt idx="7">
                  <c:v>268</c:v>
                </c:pt>
                <c:pt idx="8">
                  <c:v>232</c:v>
                </c:pt>
                <c:pt idx="9">
                  <c:v>223</c:v>
                </c:pt>
                <c:pt idx="10">
                  <c:v>202</c:v>
                </c:pt>
                <c:pt idx="11">
                  <c:v>200</c:v>
                </c:pt>
                <c:pt idx="12">
                  <c:v>153</c:v>
                </c:pt>
                <c:pt idx="13">
                  <c:v>103</c:v>
                </c:pt>
                <c:pt idx="14">
                  <c:v>97</c:v>
                </c:pt>
                <c:pt idx="15">
                  <c:v>95</c:v>
                </c:pt>
                <c:pt idx="16">
                  <c:v>77</c:v>
                </c:pt>
                <c:pt idx="17">
                  <c:v>77</c:v>
                </c:pt>
                <c:pt idx="18">
                  <c:v>74</c:v>
                </c:pt>
                <c:pt idx="19">
                  <c:v>61</c:v>
                </c:pt>
                <c:pt idx="20">
                  <c:v>49</c:v>
                </c:pt>
                <c:pt idx="21">
                  <c:v>44</c:v>
                </c:pt>
                <c:pt idx="22">
                  <c:v>29</c:v>
                </c:pt>
                <c:pt idx="23">
                  <c:v>22</c:v>
                </c:pt>
                <c:pt idx="24">
                  <c:v>16</c:v>
                </c:pt>
                <c:pt idx="25">
                  <c:v>14</c:v>
                </c:pt>
                <c:pt idx="26">
                  <c:v>11</c:v>
                </c:pt>
                <c:pt idx="27">
                  <c:v>9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4</c:v>
                </c:pt>
                <c:pt idx="32">
                  <c:v>3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99</c:f>
              <c:numCache>
                <c:formatCode>m/d/yyyy</c:formatCode>
                <c:ptCount val="98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</c:numCache>
            </c:numRef>
          </c:cat>
          <c:val>
            <c:numRef>
              <c:f>Sheet1!$B$2:$B$99</c:f>
              <c:numCache>
                <c:formatCode>###0</c:formatCode>
                <c:ptCount val="98"/>
                <c:pt idx="0">
                  <c:v>5051</c:v>
                </c:pt>
                <c:pt idx="1">
                  <c:v>15505</c:v>
                </c:pt>
                <c:pt idx="2">
                  <c:v>14311</c:v>
                </c:pt>
                <c:pt idx="3">
                  <c:v>55226</c:v>
                </c:pt>
                <c:pt idx="4">
                  <c:v>35080</c:v>
                </c:pt>
                <c:pt idx="5">
                  <c:v>29858</c:v>
                </c:pt>
                <c:pt idx="6">
                  <c:v>28239</c:v>
                </c:pt>
                <c:pt idx="7">
                  <c:v>30878</c:v>
                </c:pt>
                <c:pt idx="8">
                  <c:v>14340</c:v>
                </c:pt>
                <c:pt idx="9">
                  <c:v>12523</c:v>
                </c:pt>
                <c:pt idx="10">
                  <c:v>49995</c:v>
                </c:pt>
                <c:pt idx="11">
                  <c:v>30189</c:v>
                </c:pt>
                <c:pt idx="12">
                  <c:v>28153</c:v>
                </c:pt>
                <c:pt idx="13">
                  <c:v>26121</c:v>
                </c:pt>
                <c:pt idx="14">
                  <c:v>28866</c:v>
                </c:pt>
                <c:pt idx="15">
                  <c:v>9919</c:v>
                </c:pt>
                <c:pt idx="16">
                  <c:v>8765</c:v>
                </c:pt>
                <c:pt idx="17">
                  <c:v>41420</c:v>
                </c:pt>
                <c:pt idx="18">
                  <c:v>23659</c:v>
                </c:pt>
                <c:pt idx="19">
                  <c:v>22545</c:v>
                </c:pt>
                <c:pt idx="20">
                  <c:v>23263</c:v>
                </c:pt>
                <c:pt idx="21">
                  <c:v>28366</c:v>
                </c:pt>
                <c:pt idx="22">
                  <c:v>12420</c:v>
                </c:pt>
                <c:pt idx="23">
                  <c:v>10035</c:v>
                </c:pt>
                <c:pt idx="24">
                  <c:v>47199</c:v>
                </c:pt>
                <c:pt idx="25">
                  <c:v>28162</c:v>
                </c:pt>
                <c:pt idx="26">
                  <c:v>28740</c:v>
                </c:pt>
                <c:pt idx="27">
                  <c:v>28241</c:v>
                </c:pt>
                <c:pt idx="28">
                  <c:v>31323</c:v>
                </c:pt>
                <c:pt idx="29">
                  <c:v>16511</c:v>
                </c:pt>
                <c:pt idx="30">
                  <c:v>14815</c:v>
                </c:pt>
                <c:pt idx="31">
                  <c:v>54462</c:v>
                </c:pt>
                <c:pt idx="32">
                  <c:v>33661</c:v>
                </c:pt>
                <c:pt idx="33">
                  <c:v>33035</c:v>
                </c:pt>
                <c:pt idx="34">
                  <c:v>33705</c:v>
                </c:pt>
                <c:pt idx="35">
                  <c:v>36408</c:v>
                </c:pt>
                <c:pt idx="36">
                  <c:v>17163</c:v>
                </c:pt>
                <c:pt idx="37">
                  <c:v>16714</c:v>
                </c:pt>
                <c:pt idx="38">
                  <c:v>55238</c:v>
                </c:pt>
                <c:pt idx="39">
                  <c:v>36603</c:v>
                </c:pt>
                <c:pt idx="40">
                  <c:v>34840</c:v>
                </c:pt>
                <c:pt idx="41">
                  <c:v>35330</c:v>
                </c:pt>
                <c:pt idx="42">
                  <c:v>40530</c:v>
                </c:pt>
                <c:pt idx="43">
                  <c:v>19445</c:v>
                </c:pt>
                <c:pt idx="44">
                  <c:v>20474</c:v>
                </c:pt>
                <c:pt idx="45">
                  <c:v>63291</c:v>
                </c:pt>
                <c:pt idx="46">
                  <c:v>44460</c:v>
                </c:pt>
                <c:pt idx="47">
                  <c:v>43176</c:v>
                </c:pt>
                <c:pt idx="48">
                  <c:v>44829</c:v>
                </c:pt>
                <c:pt idx="49">
                  <c:v>48873</c:v>
                </c:pt>
                <c:pt idx="50">
                  <c:v>21179</c:v>
                </c:pt>
                <c:pt idx="51">
                  <c:v>25329</c:v>
                </c:pt>
                <c:pt idx="52">
                  <c:v>74849</c:v>
                </c:pt>
                <c:pt idx="53">
                  <c:v>55732</c:v>
                </c:pt>
                <c:pt idx="54">
                  <c:v>56821</c:v>
                </c:pt>
                <c:pt idx="55">
                  <c:v>56897</c:v>
                </c:pt>
                <c:pt idx="56">
                  <c:v>60500</c:v>
                </c:pt>
                <c:pt idx="57">
                  <c:v>27218</c:v>
                </c:pt>
                <c:pt idx="58">
                  <c:v>28339</c:v>
                </c:pt>
                <c:pt idx="59">
                  <c:v>89305</c:v>
                </c:pt>
                <c:pt idx="60">
                  <c:v>70265</c:v>
                </c:pt>
                <c:pt idx="61">
                  <c:v>72512</c:v>
                </c:pt>
                <c:pt idx="62">
                  <c:v>84215</c:v>
                </c:pt>
                <c:pt idx="63">
                  <c:v>89922</c:v>
                </c:pt>
                <c:pt idx="64">
                  <c:v>34648</c:v>
                </c:pt>
                <c:pt idx="65">
                  <c:v>34631</c:v>
                </c:pt>
                <c:pt idx="66">
                  <c:v>156757</c:v>
                </c:pt>
                <c:pt idx="67">
                  <c:v>154264</c:v>
                </c:pt>
                <c:pt idx="68">
                  <c:v>156701</c:v>
                </c:pt>
                <c:pt idx="69">
                  <c:v>165380</c:v>
                </c:pt>
                <c:pt idx="70">
                  <c:v>143876</c:v>
                </c:pt>
                <c:pt idx="71">
                  <c:v>48026</c:v>
                </c:pt>
                <c:pt idx="72">
                  <c:v>50501</c:v>
                </c:pt>
                <c:pt idx="73">
                  <c:v>209374</c:v>
                </c:pt>
                <c:pt idx="74">
                  <c:v>173090</c:v>
                </c:pt>
                <c:pt idx="75">
                  <c:v>174494</c:v>
                </c:pt>
                <c:pt idx="76">
                  <c:v>172804</c:v>
                </c:pt>
                <c:pt idx="77">
                  <c:v>140666</c:v>
                </c:pt>
                <c:pt idx="78">
                  <c:v>46240</c:v>
                </c:pt>
                <c:pt idx="79">
                  <c:v>48131</c:v>
                </c:pt>
                <c:pt idx="80">
                  <c:v>227177</c:v>
                </c:pt>
                <c:pt idx="81">
                  <c:v>200379</c:v>
                </c:pt>
                <c:pt idx="82">
                  <c:v>188255</c:v>
                </c:pt>
                <c:pt idx="83">
                  <c:v>184601</c:v>
                </c:pt>
                <c:pt idx="84">
                  <c:v>145507</c:v>
                </c:pt>
                <c:pt idx="85">
                  <c:v>38230</c:v>
                </c:pt>
                <c:pt idx="86">
                  <c:v>42912</c:v>
                </c:pt>
                <c:pt idx="87">
                  <c:v>233447</c:v>
                </c:pt>
                <c:pt idx="88">
                  <c:v>192778</c:v>
                </c:pt>
                <c:pt idx="89">
                  <c:v>186884</c:v>
                </c:pt>
                <c:pt idx="90">
                  <c:v>205676</c:v>
                </c:pt>
                <c:pt idx="91">
                  <c:v>44244</c:v>
                </c:pt>
                <c:pt idx="92">
                  <c:v>31966</c:v>
                </c:pt>
                <c:pt idx="93">
                  <c:v>31629</c:v>
                </c:pt>
                <c:pt idx="94">
                  <c:v>45936</c:v>
                </c:pt>
                <c:pt idx="95">
                  <c:v>274611</c:v>
                </c:pt>
                <c:pt idx="96">
                  <c:v>187702</c:v>
                </c:pt>
                <c:pt idx="97">
                  <c:v>155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AB-4866-986E-8380A89F16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603348144"/>
        <c:axId val="1603208848"/>
      </c:barChart>
      <c:dateAx>
        <c:axId val="160334814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3208848"/>
        <c:crosses val="autoZero"/>
        <c:auto val="1"/>
        <c:lblOffset val="100"/>
        <c:baseTimeUnit val="days"/>
        <c:majorUnit val="3"/>
      </c:dateAx>
      <c:valAx>
        <c:axId val="1603208848"/>
        <c:scaling>
          <c:orientation val="minMax"/>
        </c:scaling>
        <c:delete val="0"/>
        <c:axPos val="l"/>
        <c:numFmt formatCode="###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3348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028</cdr:x>
      <cdr:y>0.09648</cdr:y>
    </cdr:from>
    <cdr:to>
      <cdr:x>0.4969</cdr:x>
      <cdr:y>0.55593</cdr:y>
    </cdr:to>
    <cdr:sp macro="" textlink="">
      <cdr:nvSpPr>
        <cdr:cNvPr id="7" name="TextovéPole 6">
          <a:extLst xmlns:a="http://schemas.openxmlformats.org/drawingml/2006/main">
            <a:ext uri="{FF2B5EF4-FFF2-40B4-BE49-F238E27FC236}">
              <a16:creationId xmlns:a16="http://schemas.microsoft.com/office/drawing/2014/main" id="{25102C19-C8AD-4006-A336-4A700ABDDE88}"/>
            </a:ext>
          </a:extLst>
        </cdr:cNvPr>
        <cdr:cNvSpPr txBox="1"/>
      </cdr:nvSpPr>
      <cdr:spPr>
        <a:xfrm xmlns:a="http://schemas.openxmlformats.org/drawingml/2006/main">
          <a:off x="1131605" y="563431"/>
          <a:ext cx="4475749" cy="26830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600" b="1" dirty="0">
              <a:solidFill>
                <a:srgbClr val="D31145"/>
              </a:solidFill>
            </a:rPr>
            <a:t>Březen 		1 133 694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 		707 850</a:t>
          </a:r>
        </a:p>
        <a:p xmlns:a="http://schemas.openxmlformats.org/drawingml/2006/main">
          <a:r>
            <a:rPr lang="cs-CZ" sz="1600" dirty="0"/>
            <a:t>Moderna		147 600</a:t>
          </a:r>
        </a:p>
        <a:p xmlns:a="http://schemas.openxmlformats.org/drawingml/2006/main">
          <a:r>
            <a:rPr lang="cs-CZ" sz="1600" dirty="0"/>
            <a:t>AstraZeneca	278 244</a:t>
          </a:r>
        </a:p>
        <a:p xmlns:a="http://schemas.openxmlformats.org/drawingml/2006/main">
          <a:endParaRPr lang="cs-CZ" sz="1600" dirty="0"/>
        </a:p>
        <a:p xmlns:a="http://schemas.openxmlformats.org/drawingml/2006/main">
          <a:r>
            <a:rPr lang="cs-CZ" sz="1600" b="1" dirty="0">
              <a:solidFill>
                <a:srgbClr val="D62051"/>
              </a:solidFill>
            </a:rPr>
            <a:t>Duben	</a:t>
          </a:r>
          <a:r>
            <a:rPr lang="cs-CZ" sz="1600" dirty="0">
              <a:solidFill>
                <a:srgbClr val="D62051"/>
              </a:solidFill>
            </a:rPr>
            <a:t>	</a:t>
          </a:r>
          <a:r>
            <a:rPr lang="cs-CZ" sz="1600" b="1" dirty="0">
              <a:solidFill>
                <a:srgbClr val="D62051"/>
              </a:solidFill>
            </a:rPr>
            <a:t>2 120 797</a:t>
          </a:r>
        </a:p>
        <a:p xmlns:a="http://schemas.openxmlformats.org/drawingml/2006/main">
          <a:r>
            <a:rPr lang="cs-CZ" sz="1600" dirty="0" err="1"/>
            <a:t>Pfizer</a:t>
          </a:r>
          <a:r>
            <a:rPr lang="cs-CZ" sz="1600" dirty="0"/>
            <a:t>		1 145 430</a:t>
          </a:r>
        </a:p>
        <a:p xmlns:a="http://schemas.openxmlformats.org/drawingml/2006/main">
          <a:r>
            <a:rPr lang="cs-CZ" sz="1600" dirty="0"/>
            <a:t>Moderna		276 600</a:t>
          </a:r>
        </a:p>
        <a:p xmlns:a="http://schemas.openxmlformats.org/drawingml/2006/main">
          <a:r>
            <a:rPr lang="cs-CZ" sz="1600" dirty="0"/>
            <a:t>AstraZeneca	400 000 ?</a:t>
          </a:r>
        </a:p>
        <a:p xmlns:a="http://schemas.openxmlformats.org/drawingml/2006/main">
          <a:endParaRPr lang="cs-CZ" dirty="0"/>
        </a:p>
        <a:p xmlns:a="http://schemas.openxmlformats.org/drawingml/2006/main">
          <a:endParaRPr lang="cs-CZ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840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292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3277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43135-FA3B-4439-9778-AB2E228C4C5C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5670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2129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8901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9132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71500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5938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9267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7869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7378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83992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0395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37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487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37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31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881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2586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39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11.png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png"/><Relationship Id="rId5" Type="http://schemas.openxmlformats.org/officeDocument/2006/relationships/image" Target="../media/image50.sv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png"/><Relationship Id="rId5" Type="http://schemas.openxmlformats.org/officeDocument/2006/relationships/image" Target="../media/image50.sv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png"/><Relationship Id="rId5" Type="http://schemas.openxmlformats.org/officeDocument/2006/relationships/image" Target="../media/image50.svg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svg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png"/><Relationship Id="rId5" Type="http://schemas.openxmlformats.org/officeDocument/2006/relationships/image" Target="../media/image50.svg"/><Relationship Id="rId4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0.svg"/><Relationship Id="rId5" Type="http://schemas.openxmlformats.org/officeDocument/2006/relationships/image" Target="../media/image11.png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0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6924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576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68434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385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183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4542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1067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2739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892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61498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5245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617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980607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30737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072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6272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62481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2490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1F266-4867-4FDD-9FB2-B0505DA45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CA6EB5-385D-4913-9C35-A9990241EA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281972-08CD-4128-8360-932CCBA52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2C53F3-0FBF-4ADE-B28F-9C371CFFC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288A8-532D-433C-AB35-C4249FB9F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94496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1C893-D8EF-48B3-A54C-6A744799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8B657-5E57-41D3-BDA9-88B54012C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8FD93-169F-4F7F-BDE4-A6ADABAC7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AAB52-C9C6-4960-B8B5-DC9236D83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5933F7-BDE2-4444-8AE9-BFAAD2AF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458910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BAC12-BD61-4F3E-8023-E05FB257B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D35DD-D0C7-4C01-967D-BD220F77B4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758036-2BFC-405E-88FD-2933F50E2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8AD81-79A3-4AC8-9C5D-0A5C82299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E2E077-0477-4BF9-940F-5C814E0C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97064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63F3F-A832-4EBB-A18A-4BF2220B5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D5AEF-A690-4DAF-AAAE-2160529A03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E8D50D-4388-40D9-A98D-B56DF0A93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7FB85A-C4CC-4A71-B4DB-31F26F2AC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4226C5-F9AF-44E6-82CB-226CD4338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3BEED-43CD-4126-9836-79137D3F7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37175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73D05-0394-4362-9B27-7F45E5BA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9A8203-6F75-425B-B046-3954B0113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D38D7B-FFDB-463F-A1A7-BD7278285A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91EDD3-8465-4FB9-86A0-4BEE4062EE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F93CF3-8AB8-4F43-B55A-6E5A40CE0D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53A86E-3A45-4D8E-8B9A-7261095A2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9215CF-DB3C-45F7-8FD6-4050CAB84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D19C45-F9D3-4ABB-A1A6-767C03E1D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381735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A7B30-3ABC-4005-AE7C-9F21A4609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348671-1142-4FDA-B883-CD07CCF6E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FCEE53-FE71-4F78-8442-1D1B56F7E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71F8F5-FEB2-476F-883A-8AF87EEDA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33844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C2A063-3969-40F4-A503-C11260889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0FA65C-4559-4D11-9042-6FDB985CB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AF814-EEC3-4275-AE10-319D7A020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54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7B69A-0970-4DF3-9DBF-906ADB57E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B1CB3-C5BD-41BF-91B0-E22EC18108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07E656-0CA6-4952-8A94-D2FF99DAD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8F93A-D193-44CE-96B5-8AE4094B6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DDD049-E38E-4C8F-A439-B76BB15D8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2CE0FC-5719-4713-82C0-E8A021CD4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895261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76CA7-BD05-4C05-8E4D-1F6ACF19F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C31290-80D7-472F-9A12-CD44557EA8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D6BAE8-F2C4-4EA0-9A5B-B1F1D0EDBD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C1564E-3D3D-492B-BF23-9E288E495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AF70ED-DB3B-4116-99A2-9DA954516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9830E4-CD62-4045-9B26-17575866F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88460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1B1D-6996-46E1-B64F-DD15F78A4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BA50F4-EC50-4964-B91D-9D56DF80A0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FE5490-68BB-4474-BF7B-221B22444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B7E93-1822-4BC7-A3C2-53694C7A2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D01363-CB6F-4D73-9F6E-6653828C2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2014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67E270-153C-4B0A-B325-C14C21F3F8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DE5802-454C-45D1-A5A0-A3E962BD58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FCB0C-8372-4901-BABB-4264EA4D9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119E6-592E-4354-B89E-79C8DFF87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3B11C-57D7-4C56-81E3-F53AFF919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97681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9223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9625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408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15417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46781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2812863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9710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17288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2733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97882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338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57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09732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685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6AD168-46D9-47A6-8163-7BDD6BF90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0F9CE-EC72-4FE9-8F30-A60011AF0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678BA-58F7-4E69-9BB6-3E2E879539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22C89D-822C-41A9-A691-08127673038F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25D1-DEF3-4ACC-90E0-B59D773D24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C20C9-F806-4294-B8CE-BA39230714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4267B-DB77-42E2-97AB-E3012BA350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7925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34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5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57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chart" Target="../charts/char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notesSlide" Target="../notesSlides/notesSlide21.xml"/><Relationship Id="rId2" Type="http://schemas.openxmlformats.org/officeDocument/2006/relationships/tags" Target="../tags/tag24.xml"/><Relationship Id="rId16" Type="http://schemas.openxmlformats.org/officeDocument/2006/relationships/slideLayout" Target="../slideLayouts/slideLayout57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3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52106"/>
            <a:ext cx="12192000" cy="19052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 smtClean="0">
                <a:solidFill>
                  <a:schemeClr val="tx1"/>
                </a:solidFill>
              </a:rPr>
              <a:t>Stručný přehled dostupných dat</a:t>
            </a:r>
          </a:p>
          <a:p>
            <a:endParaRPr lang="cs-CZ" sz="4400" dirty="0">
              <a:solidFill>
                <a:schemeClr val="tx1"/>
              </a:solidFill>
            </a:endParaRPr>
          </a:p>
          <a:p>
            <a:r>
              <a:rPr lang="cs-CZ" sz="4400" dirty="0" smtClean="0">
                <a:solidFill>
                  <a:schemeClr val="tx1"/>
                </a:solidFill>
              </a:rPr>
              <a:t>Stav epidemie k 13.4. 2021</a:t>
            </a:r>
            <a:endParaRPr lang="cs-CZ" sz="4400" dirty="0">
              <a:solidFill>
                <a:schemeClr val="tx1"/>
              </a:solidFill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044387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F52987C9-22C0-4887-9293-F3751A2A5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187518"/>
              </p:ext>
            </p:extLst>
          </p:nvPr>
        </p:nvGraphicFramePr>
        <p:xfrm>
          <a:off x="4124934" y="1343818"/>
          <a:ext cx="5067302" cy="5028408"/>
        </p:xfrm>
        <a:graphic>
          <a:graphicData uri="http://schemas.openxmlformats.org/drawingml/2006/table">
            <a:tbl>
              <a:tblPr/>
              <a:tblGrid>
                <a:gridCol w="2533651">
                  <a:extLst>
                    <a:ext uri="{9D8B030D-6E8A-4147-A177-3AD203B41FA5}">
                      <a16:colId xmlns:a16="http://schemas.microsoft.com/office/drawing/2014/main" val="3064532409"/>
                    </a:ext>
                  </a:extLst>
                </a:gridCol>
                <a:gridCol w="2533651">
                  <a:extLst>
                    <a:ext uri="{9D8B030D-6E8A-4147-A177-3AD203B41FA5}">
                      <a16:colId xmlns:a16="http://schemas.microsoft.com/office/drawing/2014/main" val="3826893484"/>
                    </a:ext>
                  </a:extLst>
                </a:gridCol>
              </a:tblGrid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253453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521614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135473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182380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240680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804354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810148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404992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123070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647260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5027975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588329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094649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445876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846830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080156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353213"/>
                  </a:ext>
                </a:extLst>
              </a:tr>
              <a:tr h="27935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62871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obyvatel podle věk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13. 4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309B56C-9442-443F-8572-AB0E7629608E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dirty="0"/>
              <a:t>Zdroj: Informační systém infekční nemoci (ISIN) – modul očková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C43BA4A-4D39-4C65-9B16-FC0E5A085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034452"/>
              </p:ext>
            </p:extLst>
          </p:nvPr>
        </p:nvGraphicFramePr>
        <p:xfrm>
          <a:off x="257785" y="778167"/>
          <a:ext cx="8934451" cy="5573485"/>
        </p:xfrm>
        <a:graphic>
          <a:graphicData uri="http://schemas.openxmlformats.org/drawingml/2006/table">
            <a:tbl>
              <a:tblPr/>
              <a:tblGrid>
                <a:gridCol w="1525456">
                  <a:extLst>
                    <a:ext uri="{9D8B030D-6E8A-4147-A177-3AD203B41FA5}">
                      <a16:colId xmlns:a16="http://schemas.microsoft.com/office/drawing/2014/main" val="2659217880"/>
                    </a:ext>
                  </a:extLst>
                </a:gridCol>
                <a:gridCol w="2346001">
                  <a:extLst>
                    <a:ext uri="{9D8B030D-6E8A-4147-A177-3AD203B41FA5}">
                      <a16:colId xmlns:a16="http://schemas.microsoft.com/office/drawing/2014/main" val="3700633278"/>
                    </a:ext>
                  </a:extLst>
                </a:gridCol>
                <a:gridCol w="2531497">
                  <a:extLst>
                    <a:ext uri="{9D8B030D-6E8A-4147-A177-3AD203B41FA5}">
                      <a16:colId xmlns:a16="http://schemas.microsoft.com/office/drawing/2014/main" val="1208404094"/>
                    </a:ext>
                  </a:extLst>
                </a:gridCol>
                <a:gridCol w="2531497">
                  <a:extLst>
                    <a:ext uri="{9D8B030D-6E8A-4147-A177-3AD203B41FA5}">
                      <a16:colId xmlns:a16="http://schemas.microsoft.com/office/drawing/2014/main" val="3572332603"/>
                    </a:ext>
                  </a:extLst>
                </a:gridCol>
              </a:tblGrid>
              <a:tr h="5479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sob </a:t>
                      </a:r>
                    </a:p>
                    <a:p>
                      <a:pPr algn="ctr" fontAlgn="b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 populaci k 1.1.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é osoby celkem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z populace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e dvěma dávkami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z populace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08738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-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 9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98 (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3 (0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794676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 0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747 (3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69 (2,3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68122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-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8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091 (4,5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50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21674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-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 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502 (4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53 (2,9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408605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-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 9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385 (6,1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108 (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19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-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881 (7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509 (4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642732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-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 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590 (9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179 (6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60367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-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335 (10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609 (6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084635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-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 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695 (1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123 (7,4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348320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-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5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046 (10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097 (5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15007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-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 9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753 (11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42 (4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196500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-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9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076 (48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566 (15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002971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-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 6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080 (62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402 (29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526895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-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 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554 (74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239 (53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600272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-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5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236 (64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312 (48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3678603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-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9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45 (61,8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926 (47,0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31129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62 (52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3 (39,7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132988"/>
                  </a:ext>
                </a:extLst>
              </a:tr>
              <a:tr h="27919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84 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1 576 (16,2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8 230 (8,6 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9075670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9509185" y="680150"/>
            <a:ext cx="268281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Je evidentní,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že zcela prioritně jsou očkovány </a:t>
            </a:r>
            <a:r>
              <a:rPr kumimoji="0" lang="cs-CZ" sz="2600" b="1" i="0" u="none" strike="noStrike" kern="120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eniorní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kategorie občanů. I mezi očkovanými chronicky nemocnými převažují </a:t>
            </a:r>
            <a:r>
              <a:rPr kumimoji="0" lang="cs-CZ" sz="2600" b="1" i="0" u="none" strike="noStrike" kern="120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eniorní</a:t>
            </a:r>
            <a:r>
              <a:rPr kumimoji="0" lang="cs-CZ" sz="2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věkové kategorie.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61712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57867-BCFC-4FA9-A5A4-F973F2F9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čkování, objednávky a dodávky vakcín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ABE3C42C-B754-4C8E-9665-41AA38F086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649890"/>
              </p:ext>
            </p:extLst>
          </p:nvPr>
        </p:nvGraphicFramePr>
        <p:xfrm>
          <a:off x="350544" y="868069"/>
          <a:ext cx="11284730" cy="5839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C540E05-FC47-4BF7-A6BF-3CED1F9C8C6E}"/>
              </a:ext>
            </a:extLst>
          </p:cNvPr>
          <p:cNvSpPr/>
          <p:nvPr/>
        </p:nvSpPr>
        <p:spPr>
          <a:xfrm>
            <a:off x="11118500" y="5073948"/>
            <a:ext cx="8306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8 250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5A57F42A-493C-42D9-BE22-6E5AF156DA7C}"/>
              </a:ext>
            </a:extLst>
          </p:cNvPr>
          <p:cNvSpPr/>
          <p:nvPr/>
        </p:nvSpPr>
        <p:spPr>
          <a:xfrm>
            <a:off x="11118500" y="3242238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srgbClr val="3059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441 609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3AFCBF-93DD-4BCE-A1B5-74BE018F4B70}"/>
              </a:ext>
            </a:extLst>
          </p:cNvPr>
          <p:cNvSpPr/>
          <p:nvPr/>
        </p:nvSpPr>
        <p:spPr>
          <a:xfrm>
            <a:off x="11115563" y="1765479"/>
            <a:ext cx="9797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209 859</a:t>
            </a:r>
          </a:p>
        </p:txBody>
      </p:sp>
      <p:sp>
        <p:nvSpPr>
          <p:cNvPr id="7" name="TextovéPole 1">
            <a:extLst>
              <a:ext uri="{FF2B5EF4-FFF2-40B4-BE49-F238E27FC236}">
                <a16:creationId xmlns:a16="http://schemas.microsoft.com/office/drawing/2014/main" id="{50BACDFB-8FCB-4E29-BAA0-B5FBA5E85967}"/>
              </a:ext>
            </a:extLst>
          </p:cNvPr>
          <p:cNvSpPr txBox="1"/>
          <p:nvPr/>
        </p:nvSpPr>
        <p:spPr>
          <a:xfrm>
            <a:off x="11049172" y="1124143"/>
            <a:ext cx="1099359" cy="30781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4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2 391 150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475154" y="498996"/>
            <a:ext cx="5326506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Počet aplikovaných dávek odpovídá dodávkám, očkování probíhá rychle, vakcíny se nehromadí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5525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Očkování praktických lékař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1011288"/>
            <a:ext cx="111894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očkování s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ě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pojují i praktičtí lékaři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573840" y="1699234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2369785"/>
            <a:ext cx="1096745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centrální databáze je více než 72 % samostatných ordinací praktických lékařů zapojeno a registruje osoby k očkování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ktičtí lékaři podali více než 245 000 dávek očkování </a:t>
            </a: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registrují celkem více než 508 000 osob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registrovaných tvoří cca 16 % senioři 80+ a 53 % senioři ve věkové kategorii 70–79 let, zbývajících 31 % představují chroničtí pacienti do 70 let</a:t>
            </a:r>
            <a:r>
              <a:rPr kumimoji="0" lang="cs-CZ" sz="3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579136" y="615543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9252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925561E7-00B5-420C-8F07-6AED19C954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757934"/>
              </p:ext>
            </p:extLst>
          </p:nvPr>
        </p:nvGraphicFramePr>
        <p:xfrm>
          <a:off x="7105649" y="2124868"/>
          <a:ext cx="4810125" cy="4428330"/>
        </p:xfrm>
        <a:graphic>
          <a:graphicData uri="http://schemas.openxmlformats.org/drawingml/2006/table">
            <a:tbl>
              <a:tblPr/>
              <a:tblGrid>
                <a:gridCol w="1603375">
                  <a:extLst>
                    <a:ext uri="{9D8B030D-6E8A-4147-A177-3AD203B41FA5}">
                      <a16:colId xmlns:a16="http://schemas.microsoft.com/office/drawing/2014/main" val="690912107"/>
                    </a:ext>
                  </a:extLst>
                </a:gridCol>
                <a:gridCol w="1603375">
                  <a:extLst>
                    <a:ext uri="{9D8B030D-6E8A-4147-A177-3AD203B41FA5}">
                      <a16:colId xmlns:a16="http://schemas.microsoft.com/office/drawing/2014/main" val="866389850"/>
                    </a:ext>
                  </a:extLst>
                </a:gridCol>
                <a:gridCol w="1603375">
                  <a:extLst>
                    <a:ext uri="{9D8B030D-6E8A-4147-A177-3AD203B41FA5}">
                      <a16:colId xmlns:a16="http://schemas.microsoft.com/office/drawing/2014/main" val="1942756754"/>
                    </a:ext>
                  </a:extLst>
                </a:gridCol>
              </a:tblGrid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206976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384198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17444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713523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01290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01189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633905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62984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64227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33068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D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88072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806859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3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83694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1711"/>
                  </a:ext>
                </a:extLst>
              </a:tr>
              <a:tr h="29522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679813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053A483-DC0E-47F1-B499-367773CBB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283743"/>
              </p:ext>
            </p:extLst>
          </p:nvPr>
        </p:nvGraphicFramePr>
        <p:xfrm>
          <a:off x="4095750" y="2115343"/>
          <a:ext cx="1219200" cy="4437855"/>
        </p:xfrm>
        <a:graphic>
          <a:graphicData uri="http://schemas.openxmlformats.org/drawingml/2006/table">
            <a:tbl>
              <a:tblPr/>
              <a:tblGrid>
                <a:gridCol w="1219200">
                  <a:extLst>
                    <a:ext uri="{9D8B030D-6E8A-4147-A177-3AD203B41FA5}">
                      <a16:colId xmlns:a16="http://schemas.microsoft.com/office/drawing/2014/main" val="171843091"/>
                    </a:ext>
                  </a:extLst>
                </a:gridCol>
              </a:tblGrid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959251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40694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B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98613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10063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37396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663870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6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87199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C8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612683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885629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C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04947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F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987452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C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046076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1773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D6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600098"/>
                  </a:ext>
                </a:extLst>
              </a:tr>
              <a:tr h="29585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B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24825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u praktických lékařů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819774" y="102272"/>
            <a:ext cx="2143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3. 4. 2021</a:t>
            </a:r>
            <a:endParaRPr lang="cs-CZ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A8EE1B97-C1E4-4950-859F-0220BC695F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594463"/>
              </p:ext>
            </p:extLst>
          </p:nvPr>
        </p:nvGraphicFramePr>
        <p:xfrm>
          <a:off x="276225" y="775888"/>
          <a:ext cx="11639550" cy="577731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955011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19420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2114354">
                  <a:extLst>
                    <a:ext uri="{9D8B030D-6E8A-4147-A177-3AD203B41FA5}">
                      <a16:colId xmlns:a16="http://schemas.microsoft.com/office/drawing/2014/main" val="694546854"/>
                    </a:ext>
                  </a:extLst>
                </a:gridCol>
                <a:gridCol w="1343025">
                  <a:extLst>
                    <a:ext uri="{9D8B030D-6E8A-4147-A177-3AD203B41FA5}">
                      <a16:colId xmlns:a16="http://schemas.microsoft.com/office/drawing/2014/main" val="2436361455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3949225402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779270720"/>
                    </a:ext>
                  </a:extLst>
                </a:gridCol>
                <a:gridCol w="1602580">
                  <a:extLst>
                    <a:ext uri="{9D8B030D-6E8A-4147-A177-3AD203B41FA5}">
                      <a16:colId xmlns:a16="http://schemas.microsoft.com/office/drawing/2014/main" val="2198972229"/>
                    </a:ext>
                  </a:extLst>
                </a:gridCol>
              </a:tblGrid>
              <a:tr h="675756">
                <a:tc rowSpan="2">
                  <a:txBody>
                    <a:bodyPr/>
                    <a:lstStyle/>
                    <a:p>
                      <a:pPr algn="l" fontAlgn="b"/>
                      <a:endParaRPr lang="cs-CZ" sz="1400" b="1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mostatné ordinace praktického lékaře pro dospělé</a:t>
                      </a:r>
                      <a:endParaRPr lang="cs-CZ" sz="1400" b="1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podaných dávek v samostatných ordinacích praktického lékaře pro dospělé od 28.2.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5346014"/>
                  </a:ext>
                </a:extLst>
              </a:tr>
              <a:tr h="670677">
                <a:tc vMerge="1"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rdinací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ordinací s registrovanými osobami k očková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dávek 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80+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70-79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ěk do 70 let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 (6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1 (1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29 (4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8 (3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 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6 (1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4 (6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6 (1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Jihoče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(6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0 (2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6 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6 (1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(1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2 (5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 (1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2 (1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6 (5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3 (1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  <a:latin typeface="+mn-lt"/>
                        </a:rPr>
                        <a:t>Ústec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 (1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9 (5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8 (2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3 (2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2 (4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7 (2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9 (1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73 (5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4 (1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0 (2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9 (5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2 (1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0 (2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0 (6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 (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4 (1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64 (6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1 (1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3 (1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5 (6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5 (1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1 (2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48 (5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2 (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0 (1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3 (5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1 (1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9539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+mn-lt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652 (1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610 (5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65 (1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8D00FA8F-7BC8-452E-A9D0-4B9FF6F5E1C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dirty="0"/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2295083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/>
              <a:t>Přehled dle místa bydliště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82999" y="877914"/>
            <a:ext cx="1118940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plikovaných dávek očkování se liší mezi kraji, nicméně rozdíly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e postupně vyrovnávají, zejména při hodnocení 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ísta bydliště očkovaného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49173" y="2657157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382999" y="3340327"/>
            <a:ext cx="1149606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ze cca 72 % všech </a:t>
            </a:r>
            <a:r>
              <a:rPr kumimoji="0" lang="cs-CZ" sz="2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ávek bylo v Praze aplikováno u obyvatel Prahy; cca 17 % konzumovali obyvatelé Středočeského kraje, 2,0 % obyvatelé Ústeckého kraje a 1,1 % obyvatelé Jihočeského kraje. Obdobně, byť v menším rozsahu proběhla i částečná migrace obyvatel moravských krajů a Vysočiny za očkováním v </a:t>
            </a:r>
            <a:r>
              <a:rPr lang="cs-CZ" sz="2400" dirty="0">
                <a:solidFill>
                  <a:srgbClr val="000000"/>
                </a:solidFill>
              </a:rPr>
              <a:t>JMK. Migrace mezi kraji jsou vzájemné a probíhají zejména v geograficky sousedících oblastech, např. 5 % všech dávek podaných v STČ bylo aplikováno obyvatelům Prahy. </a:t>
            </a:r>
            <a:r>
              <a:rPr kumimoji="0" lang="cs-CZ" sz="2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 vakcinací do jiného kraje nejvíce míří obyvatelé STČ (26 %), Pardubického kraje (14 %) a </a:t>
            </a:r>
            <a:r>
              <a:rPr lang="cs-CZ" sz="2400" dirty="0">
                <a:solidFill>
                  <a:srgbClr val="000000"/>
                </a:solidFill>
              </a:rPr>
              <a:t>Kraje Vysočina (10 %).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2182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6680058"/>
              </p:ext>
            </p:extLst>
          </p:nvPr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9893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0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0,00–139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5520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0,00–149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867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0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F2F2F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5275"/>
              </p:ext>
            </p:extLst>
          </p:nvPr>
        </p:nvGraphicFramePr>
        <p:xfrm>
          <a:off x="51622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8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 6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4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 9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6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9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99" name="TextBox 6">
            <a:extLst>
              <a:ext uri="{FF2B5EF4-FFF2-40B4-BE49-F238E27FC236}">
                <a16:creationId xmlns:a16="http://schemas.microsoft.com/office/drawing/2014/main" id="{73476168-D2D4-4361-B47E-C7DC4CD0CECD}"/>
              </a:ext>
            </a:extLst>
          </p:cNvPr>
          <p:cNvSpPr txBox="1"/>
          <p:nvPr/>
        </p:nvSpPr>
        <p:spPr>
          <a:xfrm>
            <a:off x="5810250" y="99623"/>
            <a:ext cx="238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5945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</a:t>
            </a:r>
            <a:r>
              <a:rPr lang="cs-CZ" sz="1200" dirty="0">
                <a:solidFill>
                  <a:srgbClr val="000000"/>
                </a:solidFill>
              </a:rPr>
              <a:t>18 62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4160081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dle vybraných skupi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4417" y="676552"/>
            <a:ext cx="106826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naprosté většině aplikací sleduje stanovené prioritní skupiny, nově začíná narůstat podíl očkovaných seniorů ve věku 70 – 79 let a pracovníků ve školství.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03461" y="2162099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42875" y="2906933"/>
            <a:ext cx="11813565" cy="181588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sou očkování zdravotničtí pracovníci </a:t>
            </a:r>
            <a:r>
              <a:rPr lang="cs-CZ" sz="2800" b="1" dirty="0">
                <a:solidFill>
                  <a:srgbClr val="FFFFFF"/>
                </a:solidFill>
              </a:rPr>
              <a:t>(18,0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celku), </a:t>
            </a:r>
            <a:r>
              <a:rPr lang="cs-CZ" sz="2800" b="1" dirty="0">
                <a:solidFill>
                  <a:srgbClr val="FFFFFF"/>
                </a:solidFill>
              </a:rPr>
              <a:t>klienti a pracovníci sociálních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žeb </a:t>
            </a:r>
            <a:r>
              <a:rPr lang="cs-CZ" sz="2800" b="1" dirty="0">
                <a:solidFill>
                  <a:srgbClr val="FFFFFF"/>
                </a:solidFill>
              </a:rPr>
              <a:t>(8,4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), </a:t>
            </a:r>
            <a:r>
              <a:rPr lang="cs-CZ" sz="2800" b="1" dirty="0">
                <a:solidFill>
                  <a:srgbClr val="FFFFFF"/>
                </a:solidFill>
              </a:rPr>
              <a:t>pracovníci kritické infrastruktury (2,3 %), pracovníci ve školství (8,8 %), senioři 70-79 let (31,9 %), senioři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+ </a:t>
            </a:r>
            <a:r>
              <a:rPr lang="cs-CZ" sz="2800" b="1" dirty="0">
                <a:solidFill>
                  <a:srgbClr val="FFFFFF"/>
                </a:solidFill>
              </a:rPr>
              <a:t>(21,0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) </a:t>
            </a:r>
            <a:r>
              <a:rPr lang="pl-PL" sz="2800" b="1" dirty="0">
                <a:solidFill>
                  <a:srgbClr val="FFFFFF"/>
                </a:solidFill>
              </a:rPr>
              <a:t>a chronicky nemocní (3,1 %)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 </a:t>
            </a:r>
          </a:p>
        </p:txBody>
      </p:sp>
      <p:sp>
        <p:nvSpPr>
          <p:cNvPr id="24" name="Šipka dolů 23"/>
          <p:cNvSpPr/>
          <p:nvPr/>
        </p:nvSpPr>
        <p:spPr>
          <a:xfrm>
            <a:off x="5403461" y="6049587"/>
            <a:ext cx="1164566" cy="503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83185" y="4900695"/>
            <a:ext cx="114960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Zbývajících cca 6,5 % osob středního až velmi mladého věku </a:t>
            </a:r>
            <a:r>
              <a:rPr lang="cs-CZ" sz="2000" i="1" dirty="0">
                <a:solidFill>
                  <a:srgbClr val="000000"/>
                </a:solidFill>
              </a:rPr>
              <a:t>(</a:t>
            </a:r>
            <a:r>
              <a:rPr lang="pl-PL" sz="2000" i="1" dirty="0">
                <a:solidFill>
                  <a:srgbClr val="000000"/>
                </a:solidFill>
              </a:rPr>
              <a:t>49 936 osob / 82 118 vakcinací 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ladších 29 let) jsou většinou medici, studenti či dobrovolníci pracující na odběrných místech a jinde ve zdravotnictví při péči o COVID+ pacienty, nebo v sociálních službách  </a:t>
            </a:r>
          </a:p>
        </p:txBody>
      </p:sp>
    </p:spTree>
    <p:extLst>
      <p:ext uri="{BB962C8B-B14F-4D97-AF65-F5344CB8AC3E}">
        <p14:creationId xmlns:p14="http://schemas.microsoft.com/office/powerpoint/2010/main" val="16785043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Prioritní skupiny pro očkování – aplikované dávky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211899" y="3171829"/>
            <a:ext cx="4988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/>
              <a:t>Kumulativní počet aplikovaných dávek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4192468"/>
              </p:ext>
            </p:extLst>
          </p:nvPr>
        </p:nvGraphicFramePr>
        <p:xfrm>
          <a:off x="561974" y="759913"/>
          <a:ext cx="11377929" cy="581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877242"/>
              </p:ext>
            </p:extLst>
          </p:nvPr>
        </p:nvGraphicFramePr>
        <p:xfrm>
          <a:off x="9332022" y="999808"/>
          <a:ext cx="2731706" cy="4392003"/>
        </p:xfrm>
        <a:graphic>
          <a:graphicData uri="http://schemas.openxmlformats.org/drawingml/2006/table">
            <a:tbl>
              <a:tblPr/>
              <a:tblGrid>
                <a:gridCol w="1967061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764645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70-79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0 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oby ve věku 80+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čtí pracovníci / ochrana veřejného zdraví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 9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15959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ve škols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06629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acovníci a klienti v sociálních službá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45733"/>
                  </a:ext>
                </a:extLst>
              </a:tr>
              <a:tr h="6274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ronicky nemoc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9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89975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42835BF-F101-4F84-B183-D210FFF048AE}"/>
              </a:ext>
            </a:extLst>
          </p:cNvPr>
          <p:cNvSpPr/>
          <p:nvPr/>
        </p:nvSpPr>
        <p:spPr>
          <a:xfrm>
            <a:off x="9186460" y="5448273"/>
            <a:ext cx="27629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/>
              <a:t>* pracovníci kritické infrastruktury a ostatní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dirty="0"/>
              <a:t>Zdroj: Informační systém infekční nemoci (ISIN) – modul očkování</a:t>
            </a:r>
          </a:p>
        </p:txBody>
      </p:sp>
    </p:spTree>
    <p:extLst>
      <p:ext uri="{BB962C8B-B14F-4D97-AF65-F5344CB8AC3E}">
        <p14:creationId xmlns:p14="http://schemas.microsoft.com/office/powerpoint/2010/main" val="10170448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981B3B34-7474-4056-B50D-7B70BAE91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993" y="748531"/>
            <a:ext cx="8817502" cy="5829047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933460" cy="576000"/>
          </a:xfrm>
        </p:spPr>
        <p:txBody>
          <a:bodyPr/>
          <a:lstStyle/>
          <a:p>
            <a:r>
              <a:rPr lang="cs-CZ" dirty="0"/>
              <a:t>Výkonost očkování v ČR</a:t>
            </a:r>
          </a:p>
        </p:txBody>
      </p:sp>
      <p:sp>
        <p:nvSpPr>
          <p:cNvPr id="3" name="Obdélník 2"/>
          <p:cNvSpPr/>
          <p:nvPr/>
        </p:nvSpPr>
        <p:spPr>
          <a:xfrm>
            <a:off x="9445925" y="1139396"/>
            <a:ext cx="2639683" cy="5369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22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lkově bylo v ČR očkováno alespoň jednou dávkou již</a:t>
            </a:r>
            <a:r>
              <a:rPr lang="cs-CZ" sz="2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2200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cs-CZ" sz="22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1 609 osob starších 16 let, což je 16,2 % této </a:t>
            </a:r>
            <a:r>
              <a:rPr lang="cs-CZ" sz="2200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pulace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2200" b="1" u="sng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</a:t>
            </a:r>
            <a:r>
              <a:rPr lang="cs-CZ" sz="2200" b="1" u="sng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toho</a:t>
            </a:r>
            <a:r>
              <a:rPr lang="cs-CZ" sz="22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 768 250 osob (8,6 % populace 16+) bylo očkování ukončeno podáním druhé dávky.</a:t>
            </a:r>
            <a:endParaRPr lang="cs-CZ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0585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31336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klad efektu očkování:</a:t>
            </a:r>
            <a:r>
              <a:rPr kumimoji="0" lang="cs-CZ" sz="4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750960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808535"/>
            <a:ext cx="11737832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 přijatých opatření dochází k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mu poklesu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íře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y, denní průměrné počty potvrzených případů klesly k cca 4 00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á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testů (o cca 10% za posled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ny)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patrný u všech věkových kategori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 počtu nakažených klesá týdně o cca 2000 – 2500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 nových případů onemocnění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4" y="402452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088514" y="584752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000" b="1" dirty="0" err="1"/>
              <a:t>Proočkovanost</a:t>
            </a:r>
            <a:r>
              <a:rPr lang="cs-CZ" sz="3000" b="1" dirty="0"/>
              <a:t> v profesních kategoriích zdravotnických pracovníků dosahuje populačně viditelné úrovně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49599" y="2255948"/>
            <a:ext cx="119185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dirty="0">
                <a:solidFill>
                  <a:srgbClr val="000000"/>
                </a:solidFill>
              </a:rPr>
              <a:t>Vysoká úroveň je dosažena zejména v nemocnicích akutní lůžkové péče (lékaři 78 %, sestry 65 %, ostatní ZP 63 %). Celkem je alespoň jednou dávkou naočkováno 93 385</a:t>
            </a:r>
          </a:p>
          <a:p>
            <a:pPr lvl="0" algn="ctr">
              <a:defRPr/>
            </a:pPr>
            <a:r>
              <a:rPr lang="cs-CZ" sz="2400" dirty="0">
                <a:solidFill>
                  <a:srgbClr val="000000"/>
                </a:solidFill>
              </a:rPr>
              <a:t> zdravotnických pracovníků v nemocnicích / ZZS a 123 352 ostatních pracovníků ve zdravotnictví a v oblasti ochrany veřejného zdraví. U zdravotnických pracovníků je také vysoký počet osob s očkováním ukončeným oběma dávkami (83 823 ZP v nemocnicích / ZZS a 96 425 ostatní ZP a pracovníci ochrany veřejného zdraví)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449172" y="4641810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5126257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200" b="1" dirty="0">
                <a:solidFill>
                  <a:srgbClr val="C00000"/>
                </a:solidFill>
              </a:rPr>
              <a:t>Očkování v těchto profesních kategoriích podstatně snížilo denní počet registrovaných nových nákaz 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449172" y="6260625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56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3. 4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1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8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3361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9890624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12.2020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261916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373687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9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8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0 0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3 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400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000" b="1" dirty="0" err="1"/>
              <a:t>Proočkovanost</a:t>
            </a:r>
            <a:r>
              <a:rPr lang="cs-CZ" sz="3000" b="1" dirty="0"/>
              <a:t> v profesních kategoriích zdravotnických pracovníků dosahuje populačně viditelné úrovně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10348" y="3137678"/>
            <a:ext cx="118537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Velmi vysoká úroveň </a:t>
            </a:r>
            <a:r>
              <a:rPr lang="cs-CZ" sz="3200" b="1" dirty="0" err="1" smtClean="0">
                <a:solidFill>
                  <a:srgbClr val="C00000"/>
                </a:solidFill>
              </a:rPr>
              <a:t>proočkovanosti</a:t>
            </a:r>
            <a:r>
              <a:rPr lang="cs-CZ" sz="3200" b="1" dirty="0" smtClean="0">
                <a:solidFill>
                  <a:srgbClr val="C00000"/>
                </a:solidFill>
              </a:rPr>
              <a:t> je patrná </a:t>
            </a:r>
          </a:p>
          <a:p>
            <a:pPr lvl="0"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u pracovníků v akutní lůžkové péči: lékaři 78% a sestry 65%.</a:t>
            </a:r>
          </a:p>
          <a:p>
            <a:pPr lvl="0" algn="ctr">
              <a:defRPr/>
            </a:pPr>
            <a:endParaRPr lang="cs-CZ" sz="3200" b="1" dirty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Rozdíly mezi regiony jsou v tomto segmentu velmi malé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454916" y="5466770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454916" y="1904471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834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82811"/>
              </p:ext>
            </p:extLst>
          </p:nvPr>
        </p:nvGraphicFramePr>
        <p:xfrm>
          <a:off x="38711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81579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8728548"/>
              </p:ext>
            </p:extLst>
          </p:nvPr>
        </p:nvGraphicFramePr>
        <p:xfrm>
          <a:off x="5098826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95885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533118"/>
              </p:ext>
            </p:extLst>
          </p:nvPr>
        </p:nvGraphicFramePr>
        <p:xfrm>
          <a:off x="6213649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56517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000763"/>
              </p:ext>
            </p:extLst>
          </p:nvPr>
        </p:nvGraphicFramePr>
        <p:xfrm>
          <a:off x="11210544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70823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000" b="1" dirty="0" smtClean="0"/>
              <a:t>Určitým problémem je </a:t>
            </a:r>
            <a:r>
              <a:rPr lang="cs-CZ" sz="3000" b="1" dirty="0" err="1" smtClean="0"/>
              <a:t>proočkovanost</a:t>
            </a:r>
            <a:r>
              <a:rPr lang="cs-CZ" sz="3000" b="1" dirty="0" smtClean="0"/>
              <a:t> nelékařských zdravotnických pracovníků, kde celková úroveň </a:t>
            </a:r>
            <a:r>
              <a:rPr lang="cs-CZ" sz="3000" b="1" dirty="0" err="1" smtClean="0"/>
              <a:t>proočkovanosti</a:t>
            </a:r>
            <a:r>
              <a:rPr lang="cs-CZ" sz="3000" b="1" dirty="0" smtClean="0"/>
              <a:t> je cca 57 %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-36294" y="314630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3200" b="1" dirty="0" smtClean="0">
                <a:solidFill>
                  <a:srgbClr val="C00000"/>
                </a:solidFill>
              </a:rPr>
              <a:t>Např. zejména profese sanitáře patří mezi nejčastěji nakažené, jak dokládají reprezentativní data. Přitom jde o pracovníky, kteří mají v práci mnoho kontaktů a pohybují se po nemocnicích. Proto MZ ČR apeluje na nemocnice, aby posílily očkování i u těchto zdravotnických profesí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08274" y="582045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08274" y="2366136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3856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/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, stav k 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4 / 2021 k 12. 4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</p:spTree>
    <p:extLst>
      <p:ext uri="{BB962C8B-B14F-4D97-AF65-F5344CB8AC3E}">
        <p14:creationId xmlns:p14="http://schemas.microsoft.com/office/powerpoint/2010/main" val="42207794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4B9C4DE-27C9-48F5-848A-32B5E5C68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242" y="287488"/>
            <a:ext cx="10515600" cy="661242"/>
          </a:xfrm>
          <a:solidFill>
            <a:srgbClr val="C00000"/>
          </a:solidFill>
        </p:spPr>
        <p:txBody>
          <a:bodyPr>
            <a:no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Aktuality očková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F11BE4B-FD3D-4E0C-9806-BFA10EA02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8034" y="1281814"/>
            <a:ext cx="11040374" cy="5489922"/>
          </a:xfrm>
        </p:spPr>
        <p:txBody>
          <a:bodyPr>
            <a:normAutofit/>
          </a:bodyPr>
          <a:lstStyle/>
          <a:p>
            <a:r>
              <a:rPr lang="cs-CZ" sz="3200" b="1" dirty="0"/>
              <a:t>EMA přehodnocuje stanovisko k vakcíně Janssen (J&amp;J), na základě stanoviska FDA </a:t>
            </a:r>
          </a:p>
          <a:p>
            <a:pPr lvl="1"/>
            <a:r>
              <a:rPr lang="cs-CZ" dirty="0"/>
              <a:t>Dnes mělo být dodáno do ČR 14 400 dávek</a:t>
            </a:r>
          </a:p>
          <a:p>
            <a:pPr lvl="1"/>
            <a:r>
              <a:rPr lang="cs-CZ" dirty="0"/>
              <a:t>Stanovisko EMA by mělo být dnes, max zítra , nečekáme, že bude zakázána </a:t>
            </a:r>
          </a:p>
          <a:p>
            <a:r>
              <a:rPr lang="cs-CZ" sz="3200" b="1" dirty="0"/>
              <a:t>O půlnoci bylo spuštěno očkování 65+ , do dnešního rána přes 30 tisíc registrací </a:t>
            </a:r>
          </a:p>
          <a:p>
            <a:r>
              <a:rPr lang="cs-CZ" sz="3200" b="1" dirty="0"/>
              <a:t>Spuštěna registrace poslední kategorie chronických pacientů</a:t>
            </a:r>
          </a:p>
          <a:p>
            <a:r>
              <a:rPr lang="cs-CZ" sz="3200" b="1" dirty="0"/>
              <a:t>Spuštěna registrace zbývajících sociálních pracovníků </a:t>
            </a:r>
          </a:p>
          <a:p>
            <a:r>
              <a:rPr lang="cs-CZ" sz="3200" b="1" dirty="0"/>
              <a:t>Dodávky</a:t>
            </a:r>
          </a:p>
          <a:p>
            <a:pPr lvl="1"/>
            <a:r>
              <a:rPr lang="cs-CZ" dirty="0"/>
              <a:t>Uzavřena nová objednávka na Pfizer (2 mil. dávek, navýšení dodávek již od května a dále, nejvíce ve čtvrtém čtvrtletí 2021)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7847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4B9C4DE-27C9-48F5-848A-32B5E5C68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242" y="287488"/>
            <a:ext cx="10515600" cy="661242"/>
          </a:xfrm>
          <a:solidFill>
            <a:srgbClr val="C00000"/>
          </a:solidFill>
        </p:spPr>
        <p:txBody>
          <a:bodyPr>
            <a:no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Aktuality očková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F11BE4B-FD3D-4E0C-9806-BFA10EA02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8034" y="1281814"/>
            <a:ext cx="11040374" cy="5489922"/>
          </a:xfrm>
        </p:spPr>
        <p:txBody>
          <a:bodyPr>
            <a:normAutofit/>
          </a:bodyPr>
          <a:lstStyle/>
          <a:p>
            <a:r>
              <a:rPr lang="cs-CZ" sz="3200" b="1" dirty="0" smtClean="0"/>
              <a:t>Je třeba pracovat na strategii očkování již s výhledem na podzim 2021 a také na roky 2022 – 2023</a:t>
            </a:r>
          </a:p>
          <a:p>
            <a:endParaRPr lang="cs-CZ" sz="3200" b="1" dirty="0" smtClean="0"/>
          </a:p>
          <a:p>
            <a:r>
              <a:rPr lang="cs-CZ" sz="3200" b="1" dirty="0" smtClean="0"/>
              <a:t>Je pravděpodobné, že bude nutné populaci v určitém rozsahu přeočkovávat </a:t>
            </a:r>
          </a:p>
          <a:p>
            <a:endParaRPr lang="cs-CZ" sz="3200" b="1" dirty="0" smtClean="0"/>
          </a:p>
          <a:p>
            <a:r>
              <a:rPr lang="cs-CZ" sz="3200" b="1" dirty="0" smtClean="0"/>
              <a:t>Za tímto účelem bude MZ ČR posilovat tým koordinující vakcinaci tak, aby strategie byla robustně připravena </a:t>
            </a:r>
            <a:endParaRPr lang="cs-CZ" dirty="0"/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026898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52106"/>
            <a:ext cx="12192000" cy="19052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ručný přehled dostupných da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stování</a:t>
            </a:r>
            <a:r>
              <a:rPr kumimoji="0" lang="cs-CZ" sz="4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456028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643188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vrzuje zpomalení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1292127" flipV="1">
            <a:off x="10362697" y="4587540"/>
            <a:ext cx="1270004" cy="1696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7157" y="113414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–10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1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4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,2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1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5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3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22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voj</a:t>
            </a:r>
            <a:r>
              <a:rPr lang="cs-CZ" dirty="0"/>
              <a:t> celkového počtu AG testů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7345DDB-43EE-452C-A95B-DB39F7AE0E10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274918" y="110514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3FC2E39-464E-4F19-A4F0-8DA5EC09170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10277" y="3244333"/>
            <a:ext cx="2389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ntigenních testů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117DB0-940A-4E75-89B9-AAC763A78F46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 flipV="1">
            <a:off x="5477431" y="1105148"/>
            <a:ext cx="0" cy="15842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3D1302-3D0D-47FC-BA2A-72D34A73751A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5468467" y="1105148"/>
            <a:ext cx="1013012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01299CE-19AE-4CE2-A528-4EF5868B7A8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30676" y="655909"/>
            <a:ext cx="40984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í testování ve firmách od 1.3.2021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299842E-FE9D-42F8-B98D-001BDA3C630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V="1">
            <a:off x="1561489" y="3379871"/>
            <a:ext cx="4190725" cy="61166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AFA68B0-255A-4FC0-AF09-7A85CB1A7736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8879167" y="1083920"/>
          <a:ext cx="2640479" cy="3556635"/>
        </p:xfrm>
        <a:graphic>
          <a:graphicData uri="http://schemas.openxmlformats.org/drawingml/2006/table">
            <a:tbl>
              <a:tblPr/>
              <a:tblGrid>
                <a:gridCol w="1388696">
                  <a:extLst>
                    <a:ext uri="{9D8B030D-6E8A-4147-A177-3AD203B41FA5}">
                      <a16:colId xmlns:a16="http://schemas.microsoft.com/office/drawing/2014/main" val="2193522821"/>
                    </a:ext>
                  </a:extLst>
                </a:gridCol>
                <a:gridCol w="1251783">
                  <a:extLst>
                    <a:ext uri="{9D8B030D-6E8A-4147-A177-3AD203B41FA5}">
                      <a16:colId xmlns:a16="http://schemas.microsoft.com/office/drawing/2014/main" val="9066569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denní počet test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5668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1 - 1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 4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1331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1 - 1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 0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06849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1 - 2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 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3119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1 - 3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4485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 - 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 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3112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2 - 1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 6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16784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2 - 2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 5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8191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2 - 2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 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5948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 - 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 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1702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3 - 1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5 0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177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3 - 2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7 8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107109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3. – 28.3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6 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367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3. – 4.4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2 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7553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4. – 11.4.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2 7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965565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A59CBBB-2054-478F-8D0C-0886B13F69D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978422" y="5367889"/>
            <a:ext cx="288609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poloviny ledna 20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 kontinuálně zvyšuje počet provedených antigenních testů.</a:t>
            </a:r>
          </a:p>
        </p:txBody>
      </p:sp>
      <p:sp>
        <p:nvSpPr>
          <p:cNvPr id="3" name="TextovéPole 2"/>
          <p:cNvSpPr txBox="1"/>
          <p:nvPr>
            <p:custDataLst>
              <p:tags r:id="rId10"/>
            </p:custDataLst>
          </p:nvPr>
        </p:nvSpPr>
        <p:spPr>
          <a:xfrm>
            <a:off x="1215950" y="754500"/>
            <a:ext cx="37852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zahájení testování ve firmách narostl denní počet provedených AG test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n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íce než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omalému nárůstu docházelo již od počátku února 2021.  </a:t>
            </a:r>
          </a:p>
        </p:txBody>
      </p:sp>
    </p:spTree>
    <p:extLst>
      <p:ext uri="{BB962C8B-B14F-4D97-AF65-F5344CB8AC3E}">
        <p14:creationId xmlns:p14="http://schemas.microsoft.com/office/powerpoint/2010/main" val="2788424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186E489-6845-448B-BC3C-B4E1997D2DE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789970" cy="576000"/>
          </a:xfrm>
        </p:spPr>
        <p:txBody>
          <a:bodyPr/>
          <a:lstStyle/>
          <a:p>
            <a:r>
              <a:rPr lang="cs-CZ" dirty="0"/>
              <a:t>Počet provedených a vykázaných PCR testů v ČR 1. 2. – </a:t>
            </a:r>
            <a:r>
              <a:rPr lang="en-US" dirty="0"/>
              <a:t>8</a:t>
            </a:r>
            <a:r>
              <a:rPr lang="cs-CZ" dirty="0"/>
              <a:t>. </a:t>
            </a:r>
            <a:r>
              <a:rPr lang="en-US" dirty="0"/>
              <a:t>4</a:t>
            </a:r>
            <a:r>
              <a:rPr lang="cs-CZ" dirty="0"/>
              <a:t>. 2021</a:t>
            </a:r>
          </a:p>
        </p:txBody>
      </p:sp>
      <p:graphicFrame>
        <p:nvGraphicFramePr>
          <p:cNvPr id="6" name="Chart 4">
            <a:extLst>
              <a:ext uri="{FF2B5EF4-FFF2-40B4-BE49-F238E27FC236}">
                <a16:creationId xmlns:a16="http://schemas.microsoft.com/office/drawing/2014/main" id="{12707528-8D16-4544-A281-753E5E83B9C7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92075" y="3171568"/>
          <a:ext cx="11877772" cy="3686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1" name="TextovéPole 30">
            <a:extLst>
              <a:ext uri="{FF2B5EF4-FFF2-40B4-BE49-F238E27FC236}">
                <a16:creationId xmlns:a16="http://schemas.microsoft.com/office/drawing/2014/main" id="{2C856690-3CB5-41BB-A9B4-5A7F9CD8858C}"/>
              </a:ext>
            </a:extLst>
          </p:cNvPr>
          <p:cNvSpPr txBox="1"/>
          <p:nvPr/>
        </p:nvSpPr>
        <p:spPr>
          <a:xfrm>
            <a:off x="4536747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6DB5DE7D-6D64-4C76-AB66-3B6A6719A32B}"/>
              </a:ext>
            </a:extLst>
          </p:cNvPr>
          <p:cNvSpPr txBox="1"/>
          <p:nvPr/>
        </p:nvSpPr>
        <p:spPr>
          <a:xfrm>
            <a:off x="6610153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D5A5507-9AA2-43D8-84A0-5BC21F28FFF9}"/>
              </a:ext>
            </a:extLst>
          </p:cNvPr>
          <p:cNvSpPr txBox="1"/>
          <p:nvPr/>
        </p:nvSpPr>
        <p:spPr>
          <a:xfrm>
            <a:off x="8588497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777C2D5-9C85-4AD7-9924-2C2FA82ADAB4}"/>
              </a:ext>
            </a:extLst>
          </p:cNvPr>
          <p:cNvSpPr txBox="1"/>
          <p:nvPr/>
        </p:nvSpPr>
        <p:spPr>
          <a:xfrm>
            <a:off x="2547619" y="2431315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7EB234-FAA1-4E79-B1D4-09B44196FE8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92075" y="728269"/>
            <a:ext cx="117331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provedený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racovních dnech týdn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ižuje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á počet klinicky indikovaných testů 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234CC73F-E009-4BE1-95D0-138BD2AB37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97232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BFC87D26-CD8F-4C5F-9ADF-4D695F015155}"/>
              </a:ext>
            </a:extLst>
          </p:cNvPr>
          <p:cNvSpPr/>
          <p:nvPr/>
        </p:nvSpPr>
        <p:spPr>
          <a:xfrm>
            <a:off x="4067842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715AE362-0C45-4C5D-9D18-4BA83228C967}"/>
              </a:ext>
            </a:extLst>
          </p:cNvPr>
          <p:cNvSpPr/>
          <p:nvPr/>
        </p:nvSpPr>
        <p:spPr>
          <a:xfrm>
            <a:off x="6120700" y="2813198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0C990C7D-C129-4DE4-9DF3-B466C23CEFB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53921" y="2813285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1" name="Tabulka 4">
            <a:extLst>
              <a:ext uri="{FF2B5EF4-FFF2-40B4-BE49-F238E27FC236}">
                <a16:creationId xmlns:a16="http://schemas.microsoft.com/office/drawing/2014/main" id="{0B004F82-A4AC-4ABA-A77C-5BDA41430CF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/>
          </p:nvPr>
        </p:nvGraphicFramePr>
        <p:xfrm>
          <a:off x="1103314" y="2094250"/>
          <a:ext cx="990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102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02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61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30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77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graphicFrame>
        <p:nvGraphicFramePr>
          <p:cNvPr id="42" name="Tabulka 6">
            <a:extLst>
              <a:ext uri="{FF2B5EF4-FFF2-40B4-BE49-F238E27FC236}">
                <a16:creationId xmlns:a16="http://schemas.microsoft.com/office/drawing/2014/main" id="{1ED993D5-BB94-4BB2-9F48-5AD05201708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/>
          </p:nvPr>
        </p:nvGraphicFramePr>
        <p:xfrm>
          <a:off x="2288824" y="2405371"/>
          <a:ext cx="7429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  <p:sp>
        <p:nvSpPr>
          <p:cNvPr id="21" name="TextovéPole 43">
            <a:extLst>
              <a:ext uri="{FF2B5EF4-FFF2-40B4-BE49-F238E27FC236}">
                <a16:creationId xmlns:a16="http://schemas.microsoft.com/office/drawing/2014/main" id="{3D811309-C302-47A7-9CFB-D9FBC010583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8686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TextovéPole 44">
            <a:extLst>
              <a:ext uri="{FF2B5EF4-FFF2-40B4-BE49-F238E27FC236}">
                <a16:creationId xmlns:a16="http://schemas.microsoft.com/office/drawing/2014/main" id="{441C94FC-4D54-49A8-A97E-B46DF7888DA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155810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" name="TextovéPole 45">
            <a:extLst>
              <a:ext uri="{FF2B5EF4-FFF2-40B4-BE49-F238E27FC236}">
                <a16:creationId xmlns:a16="http://schemas.microsoft.com/office/drawing/2014/main" id="{ED9A7543-8DF6-42CE-B5FD-E460EC907DF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119947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TextovéPole 46">
            <a:extLst>
              <a:ext uri="{FF2B5EF4-FFF2-40B4-BE49-F238E27FC236}">
                <a16:creationId xmlns:a16="http://schemas.microsoft.com/office/drawing/2014/main" id="{6D3E4DD1-1F90-4777-B4EA-3E132009F8C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100304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3.–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9" name="TextovéPole 47">
            <a:extLst>
              <a:ext uri="{FF2B5EF4-FFF2-40B4-BE49-F238E27FC236}">
                <a16:creationId xmlns:a16="http://schemas.microsoft.com/office/drawing/2014/main" id="{10744195-8756-42DD-8528-9B98AE4138AB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9064441" y="1496742"/>
            <a:ext cx="1938873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počet provedených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–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92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dirty="0"/>
              <a:t>Počty pozitivních případů nově diagnostikovaných v </a:t>
            </a:r>
            <a:r>
              <a:rPr lang="cs-CZ" dirty="0" smtClean="0"/>
              <a:t>březnu a dubnu dle </a:t>
            </a:r>
            <a:r>
              <a:rPr lang="cs-CZ" dirty="0"/>
              <a:t>typu testu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254641" y="996491"/>
            <a:ext cx="1167065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sng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genní testy dlouhodobě zachytávají 18 – 20% nově pozitivně diagnostikovaných případů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endParaRPr kumimoji="0" lang="cs-CZ" sz="3600" b="1" i="0" u="none" strike="noStrike" kern="1200" cap="none" spc="0" normalizeH="0" baseline="0" noProof="0" dirty="0" smtClean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 smtClean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ymptomatických případů AG testy tvoří cca 7 – 8% všech nově diagnostikovaných.</a:t>
            </a:r>
          </a:p>
        </p:txBody>
      </p:sp>
      <p:sp>
        <p:nvSpPr>
          <p:cNvPr id="19" name="Šipka dolů 18"/>
          <p:cNvSpPr/>
          <p:nvPr/>
        </p:nvSpPr>
        <p:spPr>
          <a:xfrm>
            <a:off x="5542567" y="2564112"/>
            <a:ext cx="1304237" cy="50963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 dolů 19"/>
          <p:cNvSpPr/>
          <p:nvPr/>
        </p:nvSpPr>
        <p:spPr>
          <a:xfrm>
            <a:off x="5381220" y="5186316"/>
            <a:ext cx="1626932" cy="50963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536155"/>
              </p:ext>
            </p:extLst>
          </p:nvPr>
        </p:nvGraphicFramePr>
        <p:xfrm>
          <a:off x="1021553" y="2167347"/>
          <a:ext cx="5282263" cy="4662080"/>
        </p:xfrm>
        <a:graphic>
          <a:graphicData uri="http://schemas.openxmlformats.org/drawingml/2006/table">
            <a:tbl>
              <a:tblPr/>
              <a:tblGrid>
                <a:gridCol w="5282263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99 401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44 028 (81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42 144 (47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01 884 (34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</a:t>
                      </a:r>
                      <a:r>
                        <a:rPr lang="pt-BR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5 373 (18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= 32 042 (10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</a:t>
                      </a:r>
                      <a:r>
                        <a:rPr lang="cs-CZ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8276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3 331 (7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38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7583" y="1364372"/>
            <a:ext cx="15343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3. –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3. 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dirty="0"/>
              <a:t>Počty pozitivních případů nově diagnostikovaných v </a:t>
            </a:r>
            <a:r>
              <a:rPr lang="cs-CZ" dirty="0" smtClean="0"/>
              <a:t>březnu a dubnu dle </a:t>
            </a:r>
            <a:r>
              <a:rPr lang="cs-CZ" dirty="0"/>
              <a:t>typu testu </a:t>
            </a:r>
          </a:p>
        </p:txBody>
      </p:sp>
      <p:graphicFrame>
        <p:nvGraphicFramePr>
          <p:cNvPr id="21" name="Table 5">
            <a:extLst>
              <a:ext uri="{FF2B5EF4-FFF2-40B4-BE49-F238E27FC236}">
                <a16:creationId xmlns:a16="http://schemas.microsoft.com/office/drawing/2014/main" id="{3E2F7BC2-1FD0-43E1-9578-DF35EF4879C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6628360"/>
              </p:ext>
            </p:extLst>
          </p:nvPr>
        </p:nvGraphicFramePr>
        <p:xfrm>
          <a:off x="6645935" y="1128746"/>
          <a:ext cx="5517490" cy="5683390"/>
        </p:xfrm>
        <a:graphic>
          <a:graphicData uri="http://schemas.openxmlformats.org/drawingml/2006/table">
            <a:tbl>
              <a:tblPr/>
              <a:tblGrid>
                <a:gridCol w="67729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45876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63650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430670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4.</a:t>
                      </a:r>
                      <a:r>
                        <a:rPr lang="cs-CZ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  <a:r>
                        <a:rPr lang="cs-CZ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4.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7 309 nově pozitivních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22 221 (81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2 452 (45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9 769 (35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 088 (18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mptomatičtí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 = 2 780 (10,2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308 (8,5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792837" y="2296409"/>
            <a:ext cx="789063" cy="3914685"/>
            <a:chOff x="404159" y="1866838"/>
            <a:chExt cx="920978" cy="3351365"/>
          </a:xfrm>
        </p:grpSpPr>
        <p:cxnSp>
          <p:nvCxnSpPr>
            <p:cNvPr id="23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28" idx="2"/>
              <a:endCxn id="31" idx="2"/>
            </p:cNvCxnSpPr>
            <p:nvPr>
              <p:custDataLst>
                <p:tags r:id="rId11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35" idx="2"/>
              <a:endCxn id="29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35" idx="2"/>
              <a:endCxn id="30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31" idx="2"/>
              <a:endCxn id="32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31" idx="2"/>
              <a:endCxn id="33" idx="2"/>
            </p:cNvCxnSpPr>
            <p:nvPr>
              <p:custDataLst>
                <p:tags r:id="rId13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36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28" idx="2"/>
              <a:endCxn id="35" idx="2"/>
            </p:cNvCxnSpPr>
            <p:nvPr>
              <p:custDataLst>
                <p:tags r:id="rId15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Skupina 52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89122" y="2316688"/>
            <a:ext cx="789063" cy="3768253"/>
            <a:chOff x="404159" y="1866838"/>
            <a:chExt cx="920978" cy="3351365"/>
          </a:xfrm>
        </p:grpSpPr>
        <p:cxnSp>
          <p:nvCxnSpPr>
            <p:cNvPr id="54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59" idx="2"/>
              <a:endCxn id="62" idx="2"/>
            </p:cNvCxnSpPr>
            <p:nvPr>
              <p:custDataLst>
                <p:tags r:id="rId6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65" idx="2"/>
              <a:endCxn id="60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65" idx="2"/>
              <a:endCxn id="61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62" idx="2"/>
              <a:endCxn id="63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62" idx="2"/>
              <a:endCxn id="64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66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59" idx="2"/>
              <a:endCxn id="6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404159" y="1920837"/>
              <a:ext cx="332077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ovéPole 6"/>
          <p:cNvSpPr txBox="1"/>
          <p:nvPr/>
        </p:nvSpPr>
        <p:spPr>
          <a:xfrm>
            <a:off x="438150" y="790575"/>
            <a:ext cx="1069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é členění pozitivních záchytů dle typu testů je v čase stabilní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8691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 smtClean="0"/>
              <a:t>Testy ve školách – PILOTNÍ </a:t>
            </a:r>
            <a:r>
              <a:rPr lang="cs-CZ" sz="3000" dirty="0" smtClean="0"/>
              <a:t>výsledky</a:t>
            </a:r>
            <a:endParaRPr lang="cs-CZ" sz="30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295275" y="3416601"/>
            <a:ext cx="115443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de zatím o pilotní data ze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vou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nů, která nelze zobecňovat. </a:t>
            </a:r>
          </a:p>
          <a:p>
            <a:pPr algn="ctr"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dokládají, že testování ve školách je datově a informačně podchyceno. Pro celkové vyhodnocení záchytů bude </a:t>
            </a:r>
            <a:r>
              <a:rPr lang="cs-CZ" sz="2800" b="1" dirty="0">
                <a:solidFill>
                  <a:srgbClr val="000000"/>
                </a:solidFill>
              </a:rPr>
              <a:t>nutné </a:t>
            </a:r>
            <a:r>
              <a:rPr lang="cs-CZ" sz="2800" b="1" dirty="0" smtClean="0">
                <a:solidFill>
                  <a:srgbClr val="000000"/>
                </a:solidFill>
              </a:rPr>
              <a:t>vyčkat </a:t>
            </a:r>
            <a:r>
              <a:rPr lang="cs-CZ" sz="2800" b="1" dirty="0">
                <a:solidFill>
                  <a:srgbClr val="000000"/>
                </a:solidFill>
              </a:rPr>
              <a:t> na uzavření </a:t>
            </a:r>
            <a:r>
              <a:rPr lang="cs-CZ" sz="2800" b="1" dirty="0" smtClean="0">
                <a:solidFill>
                  <a:srgbClr val="000000"/>
                </a:solidFill>
              </a:rPr>
              <a:t>dat </a:t>
            </a:r>
            <a:r>
              <a:rPr lang="cs-CZ" sz="2800" b="1" dirty="0">
                <a:solidFill>
                  <a:srgbClr val="000000"/>
                </a:solidFill>
              </a:rPr>
              <a:t>minimálně za celý týden. </a:t>
            </a:r>
            <a:endParaRPr lang="cs-CZ" sz="2800" b="1" dirty="0" smtClean="0">
              <a:solidFill>
                <a:srgbClr val="000000"/>
              </a:solidFill>
            </a:endParaRPr>
          </a:p>
          <a:p>
            <a:pPr algn="ctr">
              <a:defRPr/>
            </a:pPr>
            <a:endParaRPr lang="cs-CZ" sz="2800" b="1" dirty="0">
              <a:solidFill>
                <a:srgbClr val="000000"/>
              </a:solidFill>
            </a:endParaRPr>
          </a:p>
          <a:p>
            <a:pPr lvl="0" algn="ctr">
              <a:defRPr/>
            </a:pPr>
            <a:r>
              <a:rPr lang="cs-CZ" sz="2800" b="1" dirty="0" smtClean="0">
                <a:solidFill>
                  <a:srgbClr val="C00000"/>
                </a:solidFill>
              </a:rPr>
              <a:t>Samotný </a:t>
            </a:r>
            <a:r>
              <a:rPr lang="cs-CZ" sz="2800" b="1" dirty="0">
                <a:solidFill>
                  <a:srgbClr val="C00000"/>
                </a:solidFill>
              </a:rPr>
              <a:t>efekt škol se může projevit nejdříve za 10 dní </a:t>
            </a:r>
          </a:p>
          <a:p>
            <a:pPr lvl="0" algn="ctr">
              <a:defRPr/>
            </a:pPr>
            <a:r>
              <a:rPr lang="cs-CZ" sz="2800" b="1" dirty="0">
                <a:solidFill>
                  <a:srgbClr val="C00000"/>
                </a:solidFill>
              </a:rPr>
              <a:t>(děti přišly do škol z domácností) </a:t>
            </a:r>
          </a:p>
        </p:txBody>
      </p:sp>
      <p:sp>
        <p:nvSpPr>
          <p:cNvPr id="37" name="Šipka dolů 36"/>
          <p:cNvSpPr/>
          <p:nvPr/>
        </p:nvSpPr>
        <p:spPr>
          <a:xfrm>
            <a:off x="5279305" y="2763174"/>
            <a:ext cx="1626932" cy="50963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417390"/>
              </p:ext>
            </p:extLst>
          </p:nvPr>
        </p:nvGraphicFramePr>
        <p:xfrm>
          <a:off x="295275" y="922021"/>
          <a:ext cx="11657891" cy="1677194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79914">
                <a:tc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000000"/>
                          </a:solidFill>
                          <a:effectLst/>
                        </a:rPr>
                        <a:t>Testovaných 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rgbClr val="000000"/>
                          </a:solidFill>
                          <a:effectLst/>
                        </a:rPr>
                        <a:t>žáků</a:t>
                      </a:r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FF0000"/>
                          </a:solidFill>
                          <a:effectLst/>
                        </a:rPr>
                        <a:t>Pozitivních žáků </a:t>
                      </a:r>
                      <a:endParaRPr lang="cs-CZ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000000"/>
                          </a:solidFill>
                          <a:effectLst/>
                        </a:rPr>
                        <a:t>Neprůkazných testů žáků</a:t>
                      </a:r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000000"/>
                          </a:solidFill>
                          <a:effectLst/>
                        </a:rPr>
                        <a:t>Testovaných zaměstnanců</a:t>
                      </a:r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FF0000"/>
                          </a:solidFill>
                          <a:effectLst/>
                        </a:rPr>
                        <a:t>Pozitivních zaměstnanců</a:t>
                      </a:r>
                      <a:endParaRPr lang="cs-CZ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rgbClr val="000000"/>
                          </a:solidFill>
                          <a:effectLst/>
                        </a:rPr>
                        <a:t>Neprůkazných testů zaměstnanců</a:t>
                      </a:r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36306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2021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4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9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8 7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36306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.2021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 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6306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 1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070005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939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3298" y="2543511"/>
            <a:ext cx="118081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KUJI ZA</a:t>
            </a:r>
            <a:r>
              <a:rPr kumimoji="0" lang="cs-CZ" sz="6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ZORNOST </a:t>
            </a:r>
            <a:endParaRPr kumimoji="0" lang="cs-CZ" sz="6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316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89727" y="1739629"/>
            <a:ext cx="11368377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významné zpomalení epidemie jsou počty nově nakažených stále až 5 - 6x vyšší než doporučená mezinárodní hodnota (14denní incidence: 100 případů/100 tis.). Zátěž nemocnic významně klesá, avšak i přes významný pokles je </a:t>
            </a:r>
            <a:r>
              <a:rPr kumimoji="0" lang="cs-CZ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ůžek JIP rovna maximu z podzimu 2020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probíhá komunitní šíření viru a i přes postupující vakcinaci je stále minimálně polovina dospělé populace citlivá k nákaze. </a:t>
            </a:r>
            <a:r>
              <a:rPr kumimoji="0" lang="cs-CZ" sz="30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musí být velmi pozvolné, jinak stále hrozí návrat epidemie k růstu. 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5426" y="129697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16080" y="116631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sto nelze situaci označit za vyřešenou, zátěž populace je stále vysoká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5425" y="423861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84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52106"/>
            <a:ext cx="12192000" cy="19052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 smtClean="0">
                <a:solidFill>
                  <a:schemeClr val="tx1"/>
                </a:solidFill>
              </a:rPr>
              <a:t>Stručný přehled dostupných dat</a:t>
            </a:r>
          </a:p>
          <a:p>
            <a:endParaRPr lang="cs-CZ" sz="4400" dirty="0">
              <a:solidFill>
                <a:schemeClr val="tx1"/>
              </a:solidFill>
            </a:endParaRPr>
          </a:p>
          <a:p>
            <a:r>
              <a:rPr lang="cs-CZ" sz="4400" dirty="0">
                <a:solidFill>
                  <a:schemeClr val="tx1"/>
                </a:solidFill>
              </a:rPr>
              <a:t>Průběh vakcinace k 13. 4. </a:t>
            </a:r>
            <a:r>
              <a:rPr lang="cs-CZ" sz="4400" dirty="0" smtClean="0">
                <a:solidFill>
                  <a:schemeClr val="tx1"/>
                </a:solidFill>
              </a:rPr>
              <a:t>2021</a:t>
            </a:r>
            <a:r>
              <a:rPr lang="cs-CZ" sz="4400" dirty="0" smtClean="0">
                <a:solidFill>
                  <a:schemeClr val="tx1"/>
                </a:solidFill>
              </a:rPr>
              <a:t> </a:t>
            </a:r>
            <a:endParaRPr lang="cs-CZ" sz="4400" dirty="0">
              <a:solidFill>
                <a:schemeClr val="tx1"/>
              </a:solidFill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Zadávání dat o očkování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FD7B51-0CCF-4695-BA40-1F340C87D5BF}"/>
              </a:ext>
            </a:extLst>
          </p:cNvPr>
          <p:cNvSpPr txBox="1"/>
          <p:nvPr/>
        </p:nvSpPr>
        <p:spPr>
          <a:xfrm>
            <a:off x="6474745" y="6381300"/>
            <a:ext cx="2897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 </a:t>
            </a:r>
            <a:r>
              <a:rPr lang="cs-CZ" sz="1100" dirty="0"/>
              <a:t>osoby s alespoň 1 dávkou vakcín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B39307-4EF2-4A2A-AC89-D8C56FF8E1C7}"/>
              </a:ext>
            </a:extLst>
          </p:cNvPr>
          <p:cNvSpPr txBox="1"/>
          <p:nvPr/>
        </p:nvSpPr>
        <p:spPr>
          <a:xfrm>
            <a:off x="6475293" y="308868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cs-CZ" dirty="0"/>
              <a:t>Počet očkovaných </a:t>
            </a:r>
          </a:p>
          <a:p>
            <a:pPr algn="ctr"/>
            <a:r>
              <a:rPr lang="cs-CZ" dirty="0"/>
              <a:t>celkem*</a:t>
            </a:r>
            <a:r>
              <a:rPr lang="en-US" dirty="0"/>
              <a:t>: </a:t>
            </a:r>
            <a:r>
              <a:rPr lang="cs-CZ" dirty="0"/>
              <a:t>1 000 79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D51750-B367-46D1-9188-497DD32FA800}"/>
              </a:ext>
            </a:extLst>
          </p:cNvPr>
          <p:cNvSpPr txBox="1"/>
          <p:nvPr/>
        </p:nvSpPr>
        <p:spPr>
          <a:xfrm>
            <a:off x="9302537" y="308868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r>
              <a:rPr lang="cs-CZ" dirty="0"/>
              <a:t>Počet očkovaných </a:t>
            </a:r>
          </a:p>
          <a:p>
            <a:r>
              <a:rPr lang="en-US" dirty="0"/>
              <a:t>2</a:t>
            </a:r>
            <a:r>
              <a:rPr lang="cs-CZ" dirty="0"/>
              <a:t>. dávkou</a:t>
            </a:r>
            <a:r>
              <a:rPr lang="en-US" dirty="0"/>
              <a:t>: 696 428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568278" y="2703574"/>
            <a:ext cx="50150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 err="1"/>
              <a:t>Comirnaty</a:t>
            </a:r>
            <a:r>
              <a:rPr lang="cs-CZ" b="1" dirty="0"/>
              <a:t> (</a:t>
            </a:r>
            <a:r>
              <a:rPr lang="cs-CZ" b="1" dirty="0" err="1"/>
              <a:t>BioNTech</a:t>
            </a:r>
            <a:r>
              <a:rPr lang="cs-CZ" b="1" dirty="0"/>
              <a:t> </a:t>
            </a:r>
            <a:r>
              <a:rPr lang="cs-CZ" b="1" dirty="0" err="1"/>
              <a:t>Manufacturing</a:t>
            </a:r>
            <a:r>
              <a:rPr lang="cs-CZ" b="1" dirty="0"/>
              <a:t> </a:t>
            </a:r>
            <a:r>
              <a:rPr lang="cs-CZ" b="1" dirty="0" err="1"/>
              <a:t>GmbH</a:t>
            </a:r>
            <a:r>
              <a:rPr lang="cs-CZ" b="1" dirty="0"/>
              <a:t>)</a:t>
            </a: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244981E4-7974-43D4-948D-20A60F272BD4}"/>
              </a:ext>
            </a:extLst>
          </p:cNvPr>
          <p:cNvSpPr txBox="1"/>
          <p:nvPr/>
        </p:nvSpPr>
        <p:spPr>
          <a:xfrm>
            <a:off x="6475293" y="4294430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cs-CZ" dirty="0"/>
              <a:t>Počet očkovaných </a:t>
            </a:r>
          </a:p>
          <a:p>
            <a:pPr algn="ctr"/>
            <a:r>
              <a:rPr lang="cs-CZ" dirty="0"/>
              <a:t>celkem*</a:t>
            </a:r>
            <a:r>
              <a:rPr lang="en-US" dirty="0"/>
              <a:t>: </a:t>
            </a:r>
            <a:r>
              <a:rPr lang="cs-CZ" dirty="0"/>
              <a:t>161 669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7DADBF1-2B3D-478C-8402-4E893313CC1A}"/>
              </a:ext>
            </a:extLst>
          </p:cNvPr>
          <p:cNvSpPr txBox="1"/>
          <p:nvPr/>
        </p:nvSpPr>
        <p:spPr>
          <a:xfrm>
            <a:off x="9302537" y="4294431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r>
              <a:rPr lang="cs-CZ" dirty="0"/>
              <a:t>Počet očkovaných </a:t>
            </a:r>
          </a:p>
          <a:p>
            <a:r>
              <a:rPr lang="en-US" dirty="0"/>
              <a:t>2</a:t>
            </a:r>
            <a:r>
              <a:rPr lang="cs-CZ" dirty="0"/>
              <a:t>. dávkou</a:t>
            </a:r>
            <a:r>
              <a:rPr lang="en-US" dirty="0"/>
              <a:t>: </a:t>
            </a:r>
            <a:r>
              <a:rPr lang="cs-CZ" dirty="0"/>
              <a:t>70 48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F957A2B-D2B1-4750-90C5-F67217CD3EC7}"/>
              </a:ext>
            </a:extLst>
          </p:cNvPr>
          <p:cNvSpPr/>
          <p:nvPr/>
        </p:nvSpPr>
        <p:spPr>
          <a:xfrm>
            <a:off x="6568278" y="3928374"/>
            <a:ext cx="4378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COVID-19 </a:t>
            </a:r>
            <a:r>
              <a:rPr lang="cs-CZ" b="1" dirty="0" err="1"/>
              <a:t>Vaccine</a:t>
            </a:r>
            <a:r>
              <a:rPr lang="cs-CZ" b="1" dirty="0"/>
              <a:t> Moderna (Moderna)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4614" y="762410"/>
            <a:ext cx="117491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800" b="1" dirty="0"/>
              <a:t>Data o očkovaných jsou zadávána </a:t>
            </a:r>
            <a:r>
              <a:rPr lang="cs-CZ" sz="2800" b="1" dirty="0" smtClean="0"/>
              <a:t>v </a:t>
            </a:r>
            <a:r>
              <a:rPr lang="cs-CZ" sz="2800" b="1" dirty="0"/>
              <a:t>reálném čase dle možností očkujících center a poskytovatelů  </a:t>
            </a:r>
          </a:p>
        </p:txBody>
      </p:sp>
      <p:sp>
        <p:nvSpPr>
          <p:cNvPr id="21" name="Šipka dolů 20"/>
          <p:cNvSpPr/>
          <p:nvPr/>
        </p:nvSpPr>
        <p:spPr>
          <a:xfrm>
            <a:off x="5275384" y="2175861"/>
            <a:ext cx="1327639" cy="4632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2A17D3C-0C2D-4013-948C-08F37662439B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363153" y="3000597"/>
            <a:ext cx="5353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accent2"/>
                </a:solidFill>
              </a:rPr>
              <a:t>Data dle hlášení center a MZ ČR k 13. 4. (20:00), korigováno dle dostupných podkladů 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7CEDFB5E-4738-44FF-9FA7-0F069C7F6E3F}"/>
              </a:ext>
            </a:extLst>
          </p:cNvPr>
          <p:cNvSpPr txBox="1"/>
          <p:nvPr/>
        </p:nvSpPr>
        <p:spPr>
          <a:xfrm>
            <a:off x="339568" y="4294430"/>
            <a:ext cx="2435081" cy="1440000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Celkem zadaných dávek očkování:</a:t>
            </a:r>
          </a:p>
          <a:p>
            <a:pPr algn="ctr"/>
            <a:endParaRPr lang="cs-CZ" sz="2000" b="1" dirty="0">
              <a:solidFill>
                <a:schemeClr val="bg1"/>
              </a:solidFill>
            </a:endParaRPr>
          </a:p>
          <a:p>
            <a:pPr algn="ctr"/>
            <a:r>
              <a:rPr lang="cs-CZ" sz="2000" b="1" dirty="0">
                <a:solidFill>
                  <a:schemeClr val="bg1"/>
                </a:solidFill>
              </a:rPr>
              <a:t>2 209 859</a:t>
            </a:r>
          </a:p>
        </p:txBody>
      </p:sp>
      <p:sp>
        <p:nvSpPr>
          <p:cNvPr id="26" name="TextBox 17">
            <a:extLst>
              <a:ext uri="{FF2B5EF4-FFF2-40B4-BE49-F238E27FC236}">
                <a16:creationId xmlns:a16="http://schemas.microsoft.com/office/drawing/2014/main" id="{67B538C2-C372-4DF2-A732-D2EE645EE8F2}"/>
              </a:ext>
            </a:extLst>
          </p:cNvPr>
          <p:cNvSpPr txBox="1"/>
          <p:nvPr/>
        </p:nvSpPr>
        <p:spPr>
          <a:xfrm>
            <a:off x="3187739" y="3833338"/>
            <a:ext cx="2435081" cy="240578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Celkem zadaných očkovaných osob:</a:t>
            </a:r>
          </a:p>
          <a:p>
            <a:pPr algn="ctr"/>
            <a:r>
              <a:rPr lang="cs-CZ" b="1" dirty="0">
                <a:solidFill>
                  <a:schemeClr val="bg1"/>
                </a:solidFill>
              </a:rPr>
              <a:t>1 441 609</a:t>
            </a:r>
          </a:p>
          <a:p>
            <a:pPr algn="ctr"/>
            <a:r>
              <a:rPr lang="cs-CZ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cs-CZ" dirty="0">
                <a:solidFill>
                  <a:schemeClr val="bg1"/>
                </a:solidFill>
              </a:rPr>
              <a:t>z toho se dvěma dávkami očkování: </a:t>
            </a:r>
          </a:p>
          <a:p>
            <a:pPr algn="ctr"/>
            <a:r>
              <a:rPr lang="cs-CZ" b="1" dirty="0">
                <a:solidFill>
                  <a:schemeClr val="bg1"/>
                </a:solidFill>
              </a:rPr>
              <a:t>768 250</a:t>
            </a:r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5405197D-6D69-4A10-8688-C2A9DC5960D5}"/>
              </a:ext>
            </a:extLst>
          </p:cNvPr>
          <p:cNvSpPr txBox="1"/>
          <p:nvPr/>
        </p:nvSpPr>
        <p:spPr>
          <a:xfrm>
            <a:off x="6474745" y="5505848"/>
            <a:ext cx="2435081" cy="733278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cs-CZ" dirty="0"/>
              <a:t>Počet očkovaných </a:t>
            </a:r>
          </a:p>
          <a:p>
            <a:pPr algn="ctr"/>
            <a:r>
              <a:rPr lang="cs-CZ" dirty="0"/>
              <a:t>celkem*</a:t>
            </a:r>
            <a:r>
              <a:rPr lang="en-US" dirty="0"/>
              <a:t>: </a:t>
            </a:r>
            <a:r>
              <a:rPr lang="cs-CZ" dirty="0"/>
              <a:t>279 141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08E03598-CD5A-4249-913E-AB2908F7F61B}"/>
              </a:ext>
            </a:extLst>
          </p:cNvPr>
          <p:cNvSpPr txBox="1"/>
          <p:nvPr/>
        </p:nvSpPr>
        <p:spPr>
          <a:xfrm>
            <a:off x="9301989" y="5505849"/>
            <a:ext cx="2435081" cy="733277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cs-CZ"/>
            </a:defPPr>
            <a:lvl1pPr algn="ctr"/>
          </a:lstStyle>
          <a:p>
            <a:r>
              <a:rPr lang="cs-CZ" dirty="0"/>
              <a:t>Počet očkovaných </a:t>
            </a:r>
          </a:p>
          <a:p>
            <a:r>
              <a:rPr lang="en-US" dirty="0"/>
              <a:t>2</a:t>
            </a:r>
            <a:r>
              <a:rPr lang="cs-CZ" dirty="0"/>
              <a:t>. dávkou</a:t>
            </a:r>
            <a:r>
              <a:rPr lang="en-US" dirty="0"/>
              <a:t>: 1 339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A666C0FE-0DFA-4AD2-B36B-1A5612D81DF9}"/>
              </a:ext>
            </a:extLst>
          </p:cNvPr>
          <p:cNvSpPr/>
          <p:nvPr/>
        </p:nvSpPr>
        <p:spPr>
          <a:xfrm>
            <a:off x="6567730" y="5139792"/>
            <a:ext cx="51902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COVID-19 VAXZEVRIA (</a:t>
            </a:r>
            <a:r>
              <a:rPr lang="cs-CZ" b="1" dirty="0" err="1"/>
              <a:t>Vaccine</a:t>
            </a:r>
            <a:r>
              <a:rPr lang="cs-CZ" b="1" dirty="0"/>
              <a:t> Astra </a:t>
            </a:r>
            <a:r>
              <a:rPr lang="cs-CZ" b="1" dirty="0" err="1"/>
              <a:t>Zeneca</a:t>
            </a:r>
            <a:r>
              <a:rPr lang="cs-CZ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04220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2400" dirty="0" smtClean="0"/>
              <a:t>Postup očkování </a:t>
            </a:r>
            <a:endParaRPr lang="cs-CZ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3. 4. 2021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66718" y="1011288"/>
            <a:ext cx="1118940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ioritních skupinách dosahuje významného populačního pokrytí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baseline="0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espoň jednou dávkou je očkováno: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Šipka dolů 3"/>
          <p:cNvSpPr/>
          <p:nvPr/>
        </p:nvSpPr>
        <p:spPr>
          <a:xfrm>
            <a:off x="5579136" y="3176562"/>
            <a:ext cx="1164566" cy="6642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677689" y="4172706"/>
            <a:ext cx="1096745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69% občanů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ve věku 80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000" b="1" dirty="0" smtClean="0">
                <a:solidFill>
                  <a:srgbClr val="000000"/>
                </a:solidFill>
                <a:latin typeface="Arial" panose="020B0604020202020204"/>
              </a:rPr>
              <a:t>54% občanů ve věku 70+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12% občanů ve věku 65+ </a:t>
            </a:r>
          </a:p>
        </p:txBody>
      </p:sp>
    </p:spTree>
    <p:extLst>
      <p:ext uri="{BB962C8B-B14F-4D97-AF65-F5344CB8AC3E}">
        <p14:creationId xmlns:p14="http://schemas.microsoft.com/office/powerpoint/2010/main" val="39921871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DC7E674-FB94-409E-9BE4-96C1CBB77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623093"/>
              </p:ext>
            </p:extLst>
          </p:nvPr>
        </p:nvGraphicFramePr>
        <p:xfrm>
          <a:off x="2581275" y="1435258"/>
          <a:ext cx="9120042" cy="4968592"/>
        </p:xfrm>
        <a:graphic>
          <a:graphicData uri="http://schemas.openxmlformats.org/drawingml/2006/table">
            <a:tbl>
              <a:tblPr/>
              <a:tblGrid>
                <a:gridCol w="1520007">
                  <a:extLst>
                    <a:ext uri="{9D8B030D-6E8A-4147-A177-3AD203B41FA5}">
                      <a16:colId xmlns:a16="http://schemas.microsoft.com/office/drawing/2014/main" val="1119421243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2533387029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2002977043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1356177775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1206029451"/>
                    </a:ext>
                  </a:extLst>
                </a:gridCol>
                <a:gridCol w="1520007">
                  <a:extLst>
                    <a:ext uri="{9D8B030D-6E8A-4147-A177-3AD203B41FA5}">
                      <a16:colId xmlns:a16="http://schemas.microsoft.com/office/drawing/2014/main" val="3634740830"/>
                    </a:ext>
                  </a:extLst>
                </a:gridCol>
              </a:tblGrid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057977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9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030319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8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5198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E2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72396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1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22103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0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E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425411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78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8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52667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2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814530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D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A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563440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3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B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512745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F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288878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6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E9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398676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E5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916058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E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3196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017784"/>
                  </a:ext>
                </a:extLst>
              </a:tr>
              <a:tr h="310537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E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54688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531955"/>
              </p:ext>
            </p:extLst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80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druhou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80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9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5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 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80+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13. 4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Celkem bylo u osob ve věku 80+ aplikováno 529 157 dávek, z toho 224 860 jsou dávky druhé v pořadí  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983003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458ED8AA-F6F0-4DCC-9C2E-8D9718D38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990710"/>
              </p:ext>
            </p:extLst>
          </p:nvPr>
        </p:nvGraphicFramePr>
        <p:xfrm>
          <a:off x="2581276" y="1444784"/>
          <a:ext cx="9120036" cy="4959072"/>
        </p:xfrm>
        <a:graphic>
          <a:graphicData uri="http://schemas.openxmlformats.org/drawingml/2006/table">
            <a:tbl>
              <a:tblPr/>
              <a:tblGrid>
                <a:gridCol w="1520006">
                  <a:extLst>
                    <a:ext uri="{9D8B030D-6E8A-4147-A177-3AD203B41FA5}">
                      <a16:colId xmlns:a16="http://schemas.microsoft.com/office/drawing/2014/main" val="101495127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2311961393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3954089966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1830008494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3184998"/>
                    </a:ext>
                  </a:extLst>
                </a:gridCol>
                <a:gridCol w="1520006">
                  <a:extLst>
                    <a:ext uri="{9D8B030D-6E8A-4147-A177-3AD203B41FA5}">
                      <a16:colId xmlns:a16="http://schemas.microsoft.com/office/drawing/2014/main" val="1383641486"/>
                    </a:ext>
                  </a:extLst>
                </a:gridCol>
              </a:tblGrid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D2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05232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D1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40625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C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841563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7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45500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9219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23662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F7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BCF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513364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E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253028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EB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EB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25525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3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386871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E7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749557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9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426286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19477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F5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0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877486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091040"/>
                  </a:ext>
                </a:extLst>
              </a:tr>
              <a:tr h="309942"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E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8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5845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8450051"/>
              </p:ext>
            </p:extLst>
          </p:nvPr>
        </p:nvGraphicFramePr>
        <p:xfrm>
          <a:off x="490686" y="759551"/>
          <a:ext cx="11215540" cy="5644303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315100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Kraj podle </a:t>
                      </a:r>
                    </a:p>
                    <a:p>
                      <a:pPr algn="l" fontAlgn="b"/>
                      <a:r>
                        <a:rPr lang="cs-CZ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ísta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70-79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druhou dávkou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65619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70-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70-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effectLst/>
                        </a:rPr>
                        <a:t>Plzeňský kraj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0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8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289926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neuveden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1022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1 6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9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70–79 let – přehled podle regionů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5952550" y="103334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13. 4. 20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490686" y="6433516"/>
            <a:ext cx="10910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Celkem bylo u osob ve věku 70-79 let aplikováno 760 124 dávek, z toho 210 968 jsou dávky druhé v pořadí  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2639229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90</TotalTime>
  <Words>4296</Words>
  <Application>Microsoft Office PowerPoint</Application>
  <PresentationFormat>Širokoúhlá obrazovka</PresentationFormat>
  <Paragraphs>979</Paragraphs>
  <Slides>35</Slides>
  <Notes>2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35</vt:i4>
      </vt:variant>
    </vt:vector>
  </HeadingPairs>
  <TitlesOfParts>
    <vt:vector size="47" baseType="lpstr">
      <vt:lpstr>Times New Roman</vt:lpstr>
      <vt:lpstr>Arial (Základní text)</vt:lpstr>
      <vt:lpstr>Arial</vt:lpstr>
      <vt:lpstr>Calibri Light</vt:lpstr>
      <vt:lpstr>Calibri</vt:lpstr>
      <vt:lpstr>Motiv Office</vt:lpstr>
      <vt:lpstr>1_Motiv Office</vt:lpstr>
      <vt:lpstr>8_Motiv Office</vt:lpstr>
      <vt:lpstr>2_Motiv Office</vt:lpstr>
      <vt:lpstr>3_Motiv Office</vt:lpstr>
      <vt:lpstr>2_Office Theme</vt:lpstr>
      <vt:lpstr>5_Motiv Office</vt:lpstr>
      <vt:lpstr>Prezentace aplikace PowerPoint</vt:lpstr>
      <vt:lpstr>Prezentace aplikace PowerPoint</vt:lpstr>
      <vt:lpstr>Počty nově diagnostikovaných pacientů: týdenní vývoj v ČR</vt:lpstr>
      <vt:lpstr>Prezentace aplikace PowerPoint</vt:lpstr>
      <vt:lpstr>Prezentace aplikace PowerPoint</vt:lpstr>
      <vt:lpstr>Zadávání dat o očkování</vt:lpstr>
      <vt:lpstr>Postup očkování </vt:lpstr>
      <vt:lpstr>Očkovaní 80+ let – přehled podle regionů</vt:lpstr>
      <vt:lpstr>Očkovaní 70–79 let – přehled podle regionů</vt:lpstr>
      <vt:lpstr>Vakcinace obyvatel podle věku</vt:lpstr>
      <vt:lpstr>Očkování, objednávky a dodávky vakcín</vt:lpstr>
      <vt:lpstr>Očkování praktických lékařů </vt:lpstr>
      <vt:lpstr>Vakcinace u praktických lékařů</vt:lpstr>
      <vt:lpstr>Přehled dle místa bydliště</vt:lpstr>
      <vt:lpstr>Očkovaní v krajích (podle místa bydliště)</vt:lpstr>
      <vt:lpstr>Očkovaní dle vybraných skupin </vt:lpstr>
      <vt:lpstr>Prioritní skupiny pro očkování – aplikované dávky v čase</vt:lpstr>
      <vt:lpstr>Výkonost očkování v ČR</vt:lpstr>
      <vt:lpstr>Prezentace aplikace PowerPoint</vt:lpstr>
      <vt:lpstr>Očkování zdravotnických pracovníků </vt:lpstr>
      <vt:lpstr>Počty pracovníků ve zdravotnictví s nákazou COVID-19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04 / 2021 k 12. 4.</vt:lpstr>
      <vt:lpstr>Aktuality očkování</vt:lpstr>
      <vt:lpstr>Aktuality očkování</vt:lpstr>
      <vt:lpstr>Prezentace aplikace PowerPoint</vt:lpstr>
      <vt:lpstr>Vývoj celkového počtu AG testů</vt:lpstr>
      <vt:lpstr>Počet provedených a vykázaných PCR testů v ČR 1. 2. – 8. 4. 2021</vt:lpstr>
      <vt:lpstr>Počty pozitivních případů nově diagnostikovaných v březnu a dubnu dle typu testu </vt:lpstr>
      <vt:lpstr>Počty pozitivních případů nově diagnostikovaných v březnu a dubnu dle typu testu </vt:lpstr>
      <vt:lpstr>Testy ve školách – PILOTNÍ výsledky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Ladislav Dušek</cp:lastModifiedBy>
  <cp:revision>584</cp:revision>
  <dcterms:created xsi:type="dcterms:W3CDTF">2020-11-11T17:36:28Z</dcterms:created>
  <dcterms:modified xsi:type="dcterms:W3CDTF">2021-04-14T08:35:28Z</dcterms:modified>
</cp:coreProperties>
</file>